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83" r:id="rId4"/>
  </p:sldMasterIdLst>
  <p:notesMasterIdLst>
    <p:notesMasterId r:id="rId28"/>
  </p:notesMasterIdLst>
  <p:handoutMasterIdLst>
    <p:handoutMasterId r:id="rId29"/>
  </p:handoutMasterIdLst>
  <p:sldIdLst>
    <p:sldId id="351" r:id="rId5"/>
    <p:sldId id="482" r:id="rId6"/>
    <p:sldId id="493" r:id="rId7"/>
    <p:sldId id="484" r:id="rId8"/>
    <p:sldId id="485" r:id="rId9"/>
    <p:sldId id="494" r:id="rId10"/>
    <p:sldId id="423" r:id="rId11"/>
    <p:sldId id="486" r:id="rId12"/>
    <p:sldId id="487" r:id="rId13"/>
    <p:sldId id="488" r:id="rId14"/>
    <p:sldId id="496" r:id="rId15"/>
    <p:sldId id="489" r:id="rId16"/>
    <p:sldId id="490" r:id="rId17"/>
    <p:sldId id="497" r:id="rId18"/>
    <p:sldId id="498" r:id="rId19"/>
    <p:sldId id="500" r:id="rId20"/>
    <p:sldId id="501" r:id="rId21"/>
    <p:sldId id="502" r:id="rId22"/>
    <p:sldId id="503" r:id="rId23"/>
    <p:sldId id="504" r:id="rId24"/>
    <p:sldId id="505" r:id="rId25"/>
    <p:sldId id="506" r:id="rId26"/>
    <p:sldId id="499" r:id="rId27"/>
  </p:sldIdLst>
  <p:sldSz cx="12192000" cy="6858000"/>
  <p:notesSz cx="6735763" cy="9866313"/>
  <p:embeddedFontLst>
    <p:embeddedFont>
      <p:font typeface="e-Ukraine Bold" panose="020B0604020202020204" charset="-52"/>
      <p:bold r:id="rId30"/>
    </p:embeddedFont>
    <p:embeddedFont>
      <p:font typeface="Calibri" panose="020F0502020204030204" pitchFamily="34" charset="0"/>
      <p:regular r:id="rId31"/>
      <p:bold r:id="rId32"/>
      <p:italic r:id="rId33"/>
      <p:boldItalic r:id="rId34"/>
    </p:embeddedFont>
    <p:embeddedFont>
      <p:font typeface="e-Ukraine UltraLight" panose="020B0604020202020204" charset="-52"/>
      <p:regular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541" userDrawn="1">
          <p15:clr>
            <a:srgbClr val="A4A3A4"/>
          </p15:clr>
        </p15:guide>
        <p15:guide id="2" pos="2320" userDrawn="1">
          <p15:clr>
            <a:srgbClr val="A4A3A4"/>
          </p15:clr>
        </p15:guide>
        <p15:guide id="5" orient="horz" pos="3113" userDrawn="1">
          <p15:clr>
            <a:srgbClr val="A4A3A4"/>
          </p15:clr>
        </p15:guide>
        <p15:guide id="6" orient="horz" pos="1525" userDrawn="1">
          <p15:clr>
            <a:srgbClr val="A4A3A4"/>
          </p15:clr>
        </p15:guide>
        <p15:guide id="7" orient="horz" pos="640" userDrawn="1">
          <p15:clr>
            <a:srgbClr val="A4A3A4"/>
          </p15:clr>
        </p15:guide>
        <p15:guide id="8" pos="461" userDrawn="1">
          <p15:clr>
            <a:srgbClr val="A4A3A4"/>
          </p15:clr>
        </p15:guide>
        <p15:guide id="9" pos="2819" userDrawn="1">
          <p15:clr>
            <a:srgbClr val="A4A3A4"/>
          </p15:clr>
        </p15:guide>
        <p15:guide id="10" pos="6085" userDrawn="1">
          <p15:clr>
            <a:srgbClr val="A4A3A4"/>
          </p15:clr>
        </p15:guide>
        <p15:guide id="11" pos="37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ользователь Windows" initials="ПW" lastIdx="0" clrIdx="0">
    <p:extLst>
      <p:ext uri="{19B8F6BF-5375-455C-9EA6-DF929625EA0E}">
        <p15:presenceInfo xmlns:p15="http://schemas.microsoft.com/office/powerpoint/2012/main" userId="Пользователь Window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7"/>
    <a:srgbClr val="FFCD2F"/>
    <a:srgbClr val="E6E6E6"/>
    <a:srgbClr val="FABE28"/>
    <a:srgbClr val="BDC7D2"/>
    <a:srgbClr val="C0C0C0"/>
    <a:srgbClr val="FFDB00"/>
    <a:srgbClr val="FFC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86" autoAdjust="0"/>
    <p:restoredTop sz="94660"/>
  </p:normalViewPr>
  <p:slideViewPr>
    <p:cSldViewPr snapToGrid="0">
      <p:cViewPr varScale="1">
        <p:scale>
          <a:sx n="109" d="100"/>
          <a:sy n="109" d="100"/>
        </p:scale>
        <p:origin x="1218" y="102"/>
      </p:cViewPr>
      <p:guideLst>
        <p:guide pos="5541"/>
        <p:guide pos="2320"/>
        <p:guide orient="horz" pos="3113"/>
        <p:guide orient="horz" pos="1525"/>
        <p:guide orient="horz" pos="640"/>
        <p:guide pos="461"/>
        <p:guide pos="2819"/>
        <p:guide pos="6085"/>
        <p:guide pos="3704"/>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3726"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font" Target="fonts/font5.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5029"/>
          </a:xfrm>
          <a:prstGeom prst="rect">
            <a:avLst/>
          </a:prstGeom>
        </p:spPr>
        <p:txBody>
          <a:bodyPr vert="horz" lIns="90763" tIns="45382" rIns="90763" bIns="45382" rtlCol="0"/>
          <a:lstStyle>
            <a:lvl1pPr algn="l">
              <a:defRPr sz="1200"/>
            </a:lvl1pPr>
          </a:lstStyle>
          <a:p>
            <a:endParaRPr lang="uk-UA" dirty="0">
              <a:latin typeface="e-Ukraine UltraLight" panose="00000500000000000000" pitchFamily="2" charset="-52"/>
            </a:endParaRPr>
          </a:p>
        </p:txBody>
      </p:sp>
      <p:sp>
        <p:nvSpPr>
          <p:cNvPr id="3" name="Date Placeholder 2"/>
          <p:cNvSpPr>
            <a:spLocks noGrp="1"/>
          </p:cNvSpPr>
          <p:nvPr>
            <p:ph type="dt" sz="quarter" idx="1"/>
          </p:nvPr>
        </p:nvSpPr>
        <p:spPr>
          <a:xfrm>
            <a:off x="3815375" y="0"/>
            <a:ext cx="2918830" cy="495029"/>
          </a:xfrm>
          <a:prstGeom prst="rect">
            <a:avLst/>
          </a:prstGeom>
        </p:spPr>
        <p:txBody>
          <a:bodyPr vert="horz" lIns="90763" tIns="45382" rIns="90763" bIns="45382" rtlCol="0"/>
          <a:lstStyle>
            <a:lvl1pPr algn="r">
              <a:defRPr sz="1200"/>
            </a:lvl1pPr>
          </a:lstStyle>
          <a:p>
            <a:fld id="{BD27AF27-00BE-471F-8D4A-EC7C10C73CCC}" type="datetimeFigureOut">
              <a:rPr lang="uk-UA" smtClean="0">
                <a:latin typeface="e-Ukraine UltraLight" panose="00000500000000000000" pitchFamily="2" charset="-52"/>
              </a:rPr>
              <a:t>14.11.2024</a:t>
            </a:fld>
            <a:endParaRPr lang="uk-UA" dirty="0">
              <a:latin typeface="e-Ukraine UltraLight" panose="00000500000000000000" pitchFamily="2" charset="-52"/>
            </a:endParaRPr>
          </a:p>
        </p:txBody>
      </p:sp>
      <p:sp>
        <p:nvSpPr>
          <p:cNvPr id="4" name="Footer Placeholder 3"/>
          <p:cNvSpPr>
            <a:spLocks noGrp="1"/>
          </p:cNvSpPr>
          <p:nvPr>
            <p:ph type="ftr" sz="quarter" idx="2"/>
          </p:nvPr>
        </p:nvSpPr>
        <p:spPr>
          <a:xfrm>
            <a:off x="1" y="9371286"/>
            <a:ext cx="2918830" cy="495028"/>
          </a:xfrm>
          <a:prstGeom prst="rect">
            <a:avLst/>
          </a:prstGeom>
        </p:spPr>
        <p:txBody>
          <a:bodyPr vert="horz" lIns="90763" tIns="45382" rIns="90763" bIns="45382" rtlCol="0" anchor="b"/>
          <a:lstStyle>
            <a:lvl1pPr algn="l">
              <a:defRPr sz="1200"/>
            </a:lvl1pPr>
          </a:lstStyle>
          <a:p>
            <a:endParaRPr lang="uk-UA" dirty="0">
              <a:latin typeface="e-Ukraine UltraLight" panose="00000500000000000000" pitchFamily="2" charset="-52"/>
            </a:endParaRPr>
          </a:p>
        </p:txBody>
      </p:sp>
      <p:sp>
        <p:nvSpPr>
          <p:cNvPr id="5" name="Slide Number Placeholder 4"/>
          <p:cNvSpPr>
            <a:spLocks noGrp="1"/>
          </p:cNvSpPr>
          <p:nvPr>
            <p:ph type="sldNum" sz="quarter" idx="3"/>
          </p:nvPr>
        </p:nvSpPr>
        <p:spPr>
          <a:xfrm>
            <a:off x="3815375" y="9371286"/>
            <a:ext cx="2918830" cy="495028"/>
          </a:xfrm>
          <a:prstGeom prst="rect">
            <a:avLst/>
          </a:prstGeom>
        </p:spPr>
        <p:txBody>
          <a:bodyPr vert="horz" lIns="90763" tIns="45382" rIns="90763" bIns="45382" rtlCol="0" anchor="b"/>
          <a:lstStyle>
            <a:lvl1pPr algn="r">
              <a:defRPr sz="1200"/>
            </a:lvl1pPr>
          </a:lstStyle>
          <a:p>
            <a:fld id="{DE4C4769-DA08-4B1E-88AC-B90449C10EDF}" type="slidenum">
              <a:rPr lang="uk-UA" smtClean="0">
                <a:latin typeface="e-Ukraine UltraLight" panose="00000500000000000000" pitchFamily="2" charset="-52"/>
              </a:rPr>
              <a:t>‹№›</a:t>
            </a:fld>
            <a:endParaRPr lang="uk-UA" dirty="0">
              <a:latin typeface="e-Ukraine UltraLight" panose="00000500000000000000" pitchFamily="2" charset="-52"/>
            </a:endParaRPr>
          </a:p>
        </p:txBody>
      </p:sp>
    </p:spTree>
    <p:extLst>
      <p:ext uri="{BB962C8B-B14F-4D97-AF65-F5344CB8AC3E}">
        <p14:creationId xmlns:p14="http://schemas.microsoft.com/office/powerpoint/2010/main" val="18848651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5029"/>
          </a:xfrm>
          <a:prstGeom prst="rect">
            <a:avLst/>
          </a:prstGeom>
        </p:spPr>
        <p:txBody>
          <a:bodyPr vert="horz" lIns="90763" tIns="45382" rIns="90763" bIns="45382" rtlCol="0"/>
          <a:lstStyle>
            <a:lvl1pPr algn="l">
              <a:defRPr sz="1200">
                <a:latin typeface="e-Ukraine UltraLight" panose="00000500000000000000" pitchFamily="2" charset="-52"/>
              </a:defRPr>
            </a:lvl1pPr>
          </a:lstStyle>
          <a:p>
            <a:endParaRPr lang="uk-UA" dirty="0"/>
          </a:p>
        </p:txBody>
      </p:sp>
      <p:sp>
        <p:nvSpPr>
          <p:cNvPr id="3" name="Date Placeholder 2"/>
          <p:cNvSpPr>
            <a:spLocks noGrp="1"/>
          </p:cNvSpPr>
          <p:nvPr>
            <p:ph type="dt" idx="1"/>
          </p:nvPr>
        </p:nvSpPr>
        <p:spPr>
          <a:xfrm>
            <a:off x="3815375" y="0"/>
            <a:ext cx="2918830" cy="495029"/>
          </a:xfrm>
          <a:prstGeom prst="rect">
            <a:avLst/>
          </a:prstGeom>
        </p:spPr>
        <p:txBody>
          <a:bodyPr vert="horz" lIns="90763" tIns="45382" rIns="90763" bIns="45382" rtlCol="0"/>
          <a:lstStyle>
            <a:lvl1pPr algn="r">
              <a:defRPr sz="1200">
                <a:latin typeface="e-Ukraine UltraLight" panose="00000500000000000000" pitchFamily="2" charset="-52"/>
              </a:defRPr>
            </a:lvl1pPr>
          </a:lstStyle>
          <a:p>
            <a:fld id="{F125630C-D054-4B95-B0D8-6024015D971B}" type="datetimeFigureOut">
              <a:rPr lang="uk-UA" smtClean="0"/>
              <a:pPr/>
              <a:t>14.11.2024</a:t>
            </a:fld>
            <a:endParaRPr lang="uk-UA"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0763" tIns="45382" rIns="90763" bIns="45382" rtlCol="0" anchor="ctr"/>
          <a:lstStyle/>
          <a:p>
            <a:endParaRPr lang="uk-UA" dirty="0"/>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0763" tIns="45382" rIns="90763" bIns="45382" rtlCol="0"/>
          <a:lstStyle/>
          <a:p>
            <a:pPr lvl="0"/>
            <a:r>
              <a:rPr lang="uk-UA" dirty="0" err="1"/>
              <a:t>Click</a:t>
            </a:r>
            <a:r>
              <a:rPr lang="uk-UA" dirty="0"/>
              <a:t> </a:t>
            </a:r>
            <a:r>
              <a:rPr lang="uk-UA" dirty="0" err="1"/>
              <a:t>to</a:t>
            </a:r>
            <a:r>
              <a:rPr lang="uk-UA" dirty="0"/>
              <a:t> </a:t>
            </a:r>
            <a:r>
              <a:rPr lang="uk-UA" dirty="0" err="1"/>
              <a:t>edit</a:t>
            </a:r>
            <a:r>
              <a:rPr lang="uk-UA" dirty="0"/>
              <a:t> </a:t>
            </a:r>
            <a:r>
              <a:rPr lang="uk-UA" dirty="0" err="1"/>
              <a:t>Master</a:t>
            </a:r>
            <a:r>
              <a:rPr lang="uk-UA" dirty="0"/>
              <a:t> </a:t>
            </a:r>
            <a:r>
              <a:rPr lang="uk-UA" dirty="0" err="1"/>
              <a:t>text</a:t>
            </a:r>
            <a:r>
              <a:rPr lang="uk-UA" dirty="0"/>
              <a:t> </a:t>
            </a:r>
            <a:r>
              <a:rPr lang="uk-UA" dirty="0" err="1"/>
              <a:t>styles</a:t>
            </a:r>
            <a:endParaRPr lang="uk-UA" dirty="0"/>
          </a:p>
          <a:p>
            <a:pPr lvl="1"/>
            <a:r>
              <a:rPr lang="uk-UA" dirty="0" err="1"/>
              <a:t>Second</a:t>
            </a:r>
            <a:r>
              <a:rPr lang="uk-UA" dirty="0"/>
              <a:t> </a:t>
            </a:r>
            <a:r>
              <a:rPr lang="uk-UA" dirty="0" err="1"/>
              <a:t>level</a:t>
            </a:r>
            <a:endParaRPr lang="uk-UA" dirty="0"/>
          </a:p>
          <a:p>
            <a:pPr lvl="2"/>
            <a:r>
              <a:rPr lang="uk-UA" dirty="0" err="1"/>
              <a:t>Third</a:t>
            </a:r>
            <a:r>
              <a:rPr lang="uk-UA" dirty="0"/>
              <a:t> </a:t>
            </a:r>
            <a:r>
              <a:rPr lang="uk-UA" dirty="0" err="1"/>
              <a:t>level</a:t>
            </a:r>
            <a:endParaRPr lang="uk-UA" dirty="0"/>
          </a:p>
          <a:p>
            <a:pPr lvl="3"/>
            <a:r>
              <a:rPr lang="uk-UA" dirty="0" err="1"/>
              <a:t>Fourth</a:t>
            </a:r>
            <a:r>
              <a:rPr lang="uk-UA" dirty="0"/>
              <a:t> </a:t>
            </a:r>
            <a:r>
              <a:rPr lang="uk-UA" dirty="0" err="1"/>
              <a:t>level</a:t>
            </a:r>
            <a:endParaRPr lang="uk-UA" dirty="0"/>
          </a:p>
          <a:p>
            <a:pPr lvl="4"/>
            <a:r>
              <a:rPr lang="uk-UA" dirty="0" err="1"/>
              <a:t>Fifth</a:t>
            </a:r>
            <a:r>
              <a:rPr lang="uk-UA" dirty="0"/>
              <a:t> </a:t>
            </a:r>
            <a:r>
              <a:rPr lang="uk-UA" dirty="0" err="1"/>
              <a:t>level</a:t>
            </a:r>
            <a:endParaRPr lang="uk-UA" dirty="0"/>
          </a:p>
        </p:txBody>
      </p:sp>
      <p:sp>
        <p:nvSpPr>
          <p:cNvPr id="6" name="Footer Placeholder 5"/>
          <p:cNvSpPr>
            <a:spLocks noGrp="1"/>
          </p:cNvSpPr>
          <p:nvPr>
            <p:ph type="ftr" sz="quarter" idx="4"/>
          </p:nvPr>
        </p:nvSpPr>
        <p:spPr>
          <a:xfrm>
            <a:off x="1" y="9371286"/>
            <a:ext cx="2918830" cy="495028"/>
          </a:xfrm>
          <a:prstGeom prst="rect">
            <a:avLst/>
          </a:prstGeom>
        </p:spPr>
        <p:txBody>
          <a:bodyPr vert="horz" lIns="90763" tIns="45382" rIns="90763" bIns="45382" rtlCol="0" anchor="b"/>
          <a:lstStyle>
            <a:lvl1pPr algn="l">
              <a:defRPr sz="1200">
                <a:latin typeface="e-Ukraine UltraLight" panose="00000500000000000000" pitchFamily="2" charset="-52"/>
              </a:defRPr>
            </a:lvl1pPr>
          </a:lstStyle>
          <a:p>
            <a:endParaRPr lang="uk-UA" dirty="0"/>
          </a:p>
        </p:txBody>
      </p:sp>
      <p:sp>
        <p:nvSpPr>
          <p:cNvPr id="7" name="Slide Number Placeholder 6"/>
          <p:cNvSpPr>
            <a:spLocks noGrp="1"/>
          </p:cNvSpPr>
          <p:nvPr>
            <p:ph type="sldNum" sz="quarter" idx="5"/>
          </p:nvPr>
        </p:nvSpPr>
        <p:spPr>
          <a:xfrm>
            <a:off x="3815375" y="9371286"/>
            <a:ext cx="2918830" cy="495028"/>
          </a:xfrm>
          <a:prstGeom prst="rect">
            <a:avLst/>
          </a:prstGeom>
        </p:spPr>
        <p:txBody>
          <a:bodyPr vert="horz" lIns="90763" tIns="45382" rIns="90763" bIns="45382" rtlCol="0" anchor="b"/>
          <a:lstStyle>
            <a:lvl1pPr algn="r">
              <a:defRPr sz="1200">
                <a:latin typeface="e-Ukraine UltraLight" panose="00000500000000000000" pitchFamily="2" charset="-52"/>
              </a:defRPr>
            </a:lvl1pPr>
          </a:lstStyle>
          <a:p>
            <a:fld id="{985841B5-3A29-4630-B526-FE71F82F6B09}" type="slidenum">
              <a:rPr lang="uk-UA" smtClean="0"/>
              <a:pPr/>
              <a:t>‹№›</a:t>
            </a:fld>
            <a:endParaRPr lang="uk-UA" dirty="0"/>
          </a:p>
        </p:txBody>
      </p:sp>
    </p:spTree>
    <p:extLst>
      <p:ext uri="{BB962C8B-B14F-4D97-AF65-F5344CB8AC3E}">
        <p14:creationId xmlns:p14="http://schemas.microsoft.com/office/powerpoint/2010/main" val="37372828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Ukraine UltraLight" panose="00000500000000000000" pitchFamily="2" charset="-52"/>
        <a:ea typeface="+mn-ea"/>
        <a:cs typeface="+mn-cs"/>
      </a:defRPr>
    </a:lvl1pPr>
    <a:lvl2pPr marL="457200" algn="l" defTabSz="914400" rtl="0" eaLnBrk="1" latinLnBrk="0" hangingPunct="1">
      <a:defRPr sz="1200" kern="1200">
        <a:solidFill>
          <a:schemeClr val="tx1"/>
        </a:solidFill>
        <a:latin typeface="e-Ukraine UltraLight" panose="00000500000000000000" pitchFamily="2" charset="-52"/>
        <a:ea typeface="+mn-ea"/>
        <a:cs typeface="+mn-cs"/>
      </a:defRPr>
    </a:lvl2pPr>
    <a:lvl3pPr marL="914400" algn="l" defTabSz="914400" rtl="0" eaLnBrk="1" latinLnBrk="0" hangingPunct="1">
      <a:defRPr sz="1200" kern="1200">
        <a:solidFill>
          <a:schemeClr val="tx1"/>
        </a:solidFill>
        <a:latin typeface="e-Ukraine UltraLight" panose="00000500000000000000" pitchFamily="2" charset="-52"/>
        <a:ea typeface="+mn-ea"/>
        <a:cs typeface="+mn-cs"/>
      </a:defRPr>
    </a:lvl3pPr>
    <a:lvl4pPr marL="1371600" algn="l" defTabSz="914400" rtl="0" eaLnBrk="1" latinLnBrk="0" hangingPunct="1">
      <a:defRPr sz="1200" kern="1200">
        <a:solidFill>
          <a:schemeClr val="tx1"/>
        </a:solidFill>
        <a:latin typeface="e-Ukraine UltraLight" panose="00000500000000000000" pitchFamily="2" charset="-52"/>
        <a:ea typeface="+mn-ea"/>
        <a:cs typeface="+mn-cs"/>
      </a:defRPr>
    </a:lvl4pPr>
    <a:lvl5pPr marL="1828800" algn="l" defTabSz="914400" rtl="0" eaLnBrk="1" latinLnBrk="0" hangingPunct="1">
      <a:defRPr sz="1200" kern="1200">
        <a:solidFill>
          <a:schemeClr val="tx1"/>
        </a:solidFill>
        <a:latin typeface="e-Ukraine UltraLight" panose="00000500000000000000" pitchFamily="2" charset="-5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uk-UA" dirty="0"/>
          </a:p>
        </p:txBody>
      </p:sp>
      <p:sp>
        <p:nvSpPr>
          <p:cNvPr id="4" name="Місце для номера слайда 3"/>
          <p:cNvSpPr>
            <a:spLocks noGrp="1"/>
          </p:cNvSpPr>
          <p:nvPr>
            <p:ph type="sldNum" sz="quarter" idx="10"/>
          </p:nvPr>
        </p:nvSpPr>
        <p:spPr/>
        <p:txBody>
          <a:bodyPr/>
          <a:lstStyle/>
          <a:p>
            <a:fld id="{985841B5-3A29-4630-B526-FE71F82F6B09}" type="slidenum">
              <a:rPr lang="uk-UA" smtClean="0"/>
              <a:pPr/>
              <a:t>1</a:t>
            </a:fld>
            <a:endParaRPr lang="uk-UA" dirty="0"/>
          </a:p>
        </p:txBody>
      </p:sp>
    </p:spTree>
    <p:extLst>
      <p:ext uri="{BB962C8B-B14F-4D97-AF65-F5344CB8AC3E}">
        <p14:creationId xmlns:p14="http://schemas.microsoft.com/office/powerpoint/2010/main" val="2787993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uk-UA" dirty="0"/>
          </a:p>
        </p:txBody>
      </p:sp>
      <p:sp>
        <p:nvSpPr>
          <p:cNvPr id="4" name="Місце для номера слайда 3"/>
          <p:cNvSpPr>
            <a:spLocks noGrp="1"/>
          </p:cNvSpPr>
          <p:nvPr>
            <p:ph type="sldNum" sz="quarter" idx="10"/>
          </p:nvPr>
        </p:nvSpPr>
        <p:spPr/>
        <p:txBody>
          <a:bodyPr/>
          <a:lstStyle/>
          <a:p>
            <a:fld id="{985841B5-3A29-4630-B526-FE71F82F6B09}" type="slidenum">
              <a:rPr lang="uk-UA" smtClean="0"/>
              <a:pPr/>
              <a:t>23</a:t>
            </a:fld>
            <a:endParaRPr lang="uk-UA" dirty="0"/>
          </a:p>
        </p:txBody>
      </p:sp>
    </p:spTree>
    <p:extLst>
      <p:ext uri="{BB962C8B-B14F-4D97-AF65-F5344CB8AC3E}">
        <p14:creationId xmlns:p14="http://schemas.microsoft.com/office/powerpoint/2010/main" val="3299729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uk-UA" dirty="0"/>
          </a:p>
        </p:txBody>
      </p:sp>
      <p:sp>
        <p:nvSpPr>
          <p:cNvPr id="4" name="Місце для номера слайда 3"/>
          <p:cNvSpPr>
            <a:spLocks noGrp="1"/>
          </p:cNvSpPr>
          <p:nvPr>
            <p:ph type="sldNum" sz="quarter" idx="10"/>
          </p:nvPr>
        </p:nvSpPr>
        <p:spPr/>
        <p:txBody>
          <a:bodyPr/>
          <a:lstStyle/>
          <a:p>
            <a:fld id="{985841B5-3A29-4630-B526-FE71F82F6B09}" type="slidenum">
              <a:rPr lang="uk-UA" smtClean="0"/>
              <a:pPr/>
              <a:t>2</a:t>
            </a:fld>
            <a:endParaRPr lang="uk-UA" dirty="0"/>
          </a:p>
        </p:txBody>
      </p:sp>
    </p:spTree>
    <p:extLst>
      <p:ext uri="{BB962C8B-B14F-4D97-AF65-F5344CB8AC3E}">
        <p14:creationId xmlns:p14="http://schemas.microsoft.com/office/powerpoint/2010/main" val="2620752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dirty="0"/>
          </a:p>
        </p:txBody>
      </p:sp>
      <p:sp>
        <p:nvSpPr>
          <p:cNvPr id="4" name="Slide Number Placeholder 3"/>
          <p:cNvSpPr>
            <a:spLocks noGrp="1"/>
          </p:cNvSpPr>
          <p:nvPr>
            <p:ph type="sldNum" sz="quarter" idx="5"/>
          </p:nvPr>
        </p:nvSpPr>
        <p:spPr/>
        <p:txBody>
          <a:bodyPr/>
          <a:lstStyle/>
          <a:p>
            <a:fld id="{985841B5-3A29-4630-B526-FE71F82F6B09}" type="slidenum">
              <a:rPr lang="uk-UA" smtClean="0"/>
              <a:pPr/>
              <a:t>7</a:t>
            </a:fld>
            <a:endParaRPr lang="uk-UA" dirty="0"/>
          </a:p>
        </p:txBody>
      </p:sp>
    </p:spTree>
    <p:extLst>
      <p:ext uri="{BB962C8B-B14F-4D97-AF65-F5344CB8AC3E}">
        <p14:creationId xmlns:p14="http://schemas.microsoft.com/office/powerpoint/2010/main" val="3750310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uk-UA" dirty="0"/>
              <a:t>При необхідності використання 5 пунктів просто видаліть правий нижній пункт</a:t>
            </a:r>
          </a:p>
        </p:txBody>
      </p:sp>
      <p:sp>
        <p:nvSpPr>
          <p:cNvPr id="4" name="Slide Number Placeholder 3"/>
          <p:cNvSpPr>
            <a:spLocks noGrp="1"/>
          </p:cNvSpPr>
          <p:nvPr>
            <p:ph type="sldNum" sz="quarter" idx="5"/>
          </p:nvPr>
        </p:nvSpPr>
        <p:spPr/>
        <p:txBody>
          <a:bodyPr/>
          <a:lstStyle/>
          <a:p>
            <a:fld id="{985841B5-3A29-4630-B526-FE71F82F6B09}" type="slidenum">
              <a:rPr lang="uk-UA" smtClean="0"/>
              <a:pPr/>
              <a:t>11</a:t>
            </a:fld>
            <a:endParaRPr lang="uk-UA" dirty="0"/>
          </a:p>
        </p:txBody>
      </p:sp>
    </p:spTree>
    <p:extLst>
      <p:ext uri="{BB962C8B-B14F-4D97-AF65-F5344CB8AC3E}">
        <p14:creationId xmlns:p14="http://schemas.microsoft.com/office/powerpoint/2010/main" val="2157619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dirty="0"/>
          </a:p>
        </p:txBody>
      </p:sp>
      <p:sp>
        <p:nvSpPr>
          <p:cNvPr id="4" name="Slide Number Placeholder 3"/>
          <p:cNvSpPr>
            <a:spLocks noGrp="1"/>
          </p:cNvSpPr>
          <p:nvPr>
            <p:ph type="sldNum" sz="quarter" idx="5"/>
          </p:nvPr>
        </p:nvSpPr>
        <p:spPr/>
        <p:txBody>
          <a:bodyPr/>
          <a:lstStyle/>
          <a:p>
            <a:fld id="{985841B5-3A29-4630-B526-FE71F82F6B09}" type="slidenum">
              <a:rPr lang="uk-UA" smtClean="0"/>
              <a:pPr/>
              <a:t>15</a:t>
            </a:fld>
            <a:endParaRPr lang="uk-UA" dirty="0"/>
          </a:p>
        </p:txBody>
      </p:sp>
    </p:spTree>
    <p:extLst>
      <p:ext uri="{BB962C8B-B14F-4D97-AF65-F5344CB8AC3E}">
        <p14:creationId xmlns:p14="http://schemas.microsoft.com/office/powerpoint/2010/main" val="2749024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uk-UA" dirty="0"/>
              <a:t>При необхідності використання 3 пунктів просто видаліть правий нижній пункт</a:t>
            </a:r>
          </a:p>
          <a:p>
            <a:endParaRPr lang="uk-UA" dirty="0"/>
          </a:p>
        </p:txBody>
      </p:sp>
      <p:sp>
        <p:nvSpPr>
          <p:cNvPr id="4" name="Slide Number Placeholder 3"/>
          <p:cNvSpPr>
            <a:spLocks noGrp="1"/>
          </p:cNvSpPr>
          <p:nvPr>
            <p:ph type="sldNum" sz="quarter" idx="5"/>
          </p:nvPr>
        </p:nvSpPr>
        <p:spPr/>
        <p:txBody>
          <a:bodyPr/>
          <a:lstStyle/>
          <a:p>
            <a:fld id="{985841B5-3A29-4630-B526-FE71F82F6B09}" type="slidenum">
              <a:rPr lang="uk-UA" smtClean="0"/>
              <a:pPr/>
              <a:t>18</a:t>
            </a:fld>
            <a:endParaRPr lang="uk-UA" dirty="0"/>
          </a:p>
        </p:txBody>
      </p:sp>
    </p:spTree>
    <p:extLst>
      <p:ext uri="{BB962C8B-B14F-4D97-AF65-F5344CB8AC3E}">
        <p14:creationId xmlns:p14="http://schemas.microsoft.com/office/powerpoint/2010/main" val="3226552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dirty="0"/>
          </a:p>
        </p:txBody>
      </p:sp>
      <p:sp>
        <p:nvSpPr>
          <p:cNvPr id="4" name="Slide Number Placeholder 3"/>
          <p:cNvSpPr>
            <a:spLocks noGrp="1"/>
          </p:cNvSpPr>
          <p:nvPr>
            <p:ph type="sldNum" sz="quarter" idx="5"/>
          </p:nvPr>
        </p:nvSpPr>
        <p:spPr/>
        <p:txBody>
          <a:bodyPr/>
          <a:lstStyle/>
          <a:p>
            <a:fld id="{985841B5-3A29-4630-B526-FE71F82F6B09}" type="slidenum">
              <a:rPr lang="uk-UA" smtClean="0"/>
              <a:pPr/>
              <a:t>19</a:t>
            </a:fld>
            <a:endParaRPr lang="uk-UA" dirty="0"/>
          </a:p>
        </p:txBody>
      </p:sp>
    </p:spTree>
    <p:extLst>
      <p:ext uri="{BB962C8B-B14F-4D97-AF65-F5344CB8AC3E}">
        <p14:creationId xmlns:p14="http://schemas.microsoft.com/office/powerpoint/2010/main" val="637076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uk-UA" dirty="0"/>
              <a:t>При необхідності використання 5 пунктів просто видаліть правий нижній пункт</a:t>
            </a:r>
          </a:p>
        </p:txBody>
      </p:sp>
      <p:sp>
        <p:nvSpPr>
          <p:cNvPr id="4" name="Slide Number Placeholder 3"/>
          <p:cNvSpPr>
            <a:spLocks noGrp="1"/>
          </p:cNvSpPr>
          <p:nvPr>
            <p:ph type="sldNum" sz="quarter" idx="5"/>
          </p:nvPr>
        </p:nvSpPr>
        <p:spPr/>
        <p:txBody>
          <a:bodyPr/>
          <a:lstStyle/>
          <a:p>
            <a:fld id="{985841B5-3A29-4630-B526-FE71F82F6B09}" type="slidenum">
              <a:rPr lang="uk-UA" smtClean="0"/>
              <a:pPr/>
              <a:t>20</a:t>
            </a:fld>
            <a:endParaRPr lang="uk-UA" dirty="0"/>
          </a:p>
        </p:txBody>
      </p:sp>
    </p:spTree>
    <p:extLst>
      <p:ext uri="{BB962C8B-B14F-4D97-AF65-F5344CB8AC3E}">
        <p14:creationId xmlns:p14="http://schemas.microsoft.com/office/powerpoint/2010/main" val="2844526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uk-UA" dirty="0"/>
              <a:t>При необхідності використання 5 пунктів просто видаліть правий нижній пункт</a:t>
            </a:r>
          </a:p>
        </p:txBody>
      </p:sp>
      <p:sp>
        <p:nvSpPr>
          <p:cNvPr id="4" name="Slide Number Placeholder 3"/>
          <p:cNvSpPr>
            <a:spLocks noGrp="1"/>
          </p:cNvSpPr>
          <p:nvPr>
            <p:ph type="sldNum" sz="quarter" idx="5"/>
          </p:nvPr>
        </p:nvSpPr>
        <p:spPr/>
        <p:txBody>
          <a:bodyPr/>
          <a:lstStyle/>
          <a:p>
            <a:fld id="{985841B5-3A29-4630-B526-FE71F82F6B09}" type="slidenum">
              <a:rPr lang="uk-UA" smtClean="0"/>
              <a:pPr/>
              <a:t>21</a:t>
            </a:fld>
            <a:endParaRPr lang="uk-UA" dirty="0"/>
          </a:p>
        </p:txBody>
      </p:sp>
    </p:spTree>
    <p:extLst>
      <p:ext uri="{BB962C8B-B14F-4D97-AF65-F5344CB8AC3E}">
        <p14:creationId xmlns:p14="http://schemas.microsoft.com/office/powerpoint/2010/main" val="283591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Титульний слайд">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535CF5-81EB-43C4-AAE6-4169C89487FB}"/>
              </a:ext>
            </a:extLst>
          </p:cNvPr>
          <p:cNvSpPr/>
          <p:nvPr userDrawn="1"/>
        </p:nvSpPr>
        <p:spPr bwMode="ltGray">
          <a:xfrm>
            <a:off x="0" y="0"/>
            <a:ext cx="12192000" cy="6858000"/>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2" charset="-52"/>
            </a:endParaRPr>
          </a:p>
        </p:txBody>
      </p:sp>
      <p:sp>
        <p:nvSpPr>
          <p:cNvPr id="66" name="Graphic 8">
            <a:extLst>
              <a:ext uri="{FF2B5EF4-FFF2-40B4-BE49-F238E27FC236}">
                <a16:creationId xmlns:a16="http://schemas.microsoft.com/office/drawing/2014/main" id="{578B14D8-25E8-439B-A39C-6F8E4F0715B5}"/>
              </a:ext>
            </a:extLst>
          </p:cNvPr>
          <p:cNvSpPr/>
          <p:nvPr userDrawn="1"/>
        </p:nvSpPr>
        <p:spPr>
          <a:xfrm>
            <a:off x="9983865" y="5345198"/>
            <a:ext cx="870415" cy="1275984"/>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solidFill>
            <a:schemeClr val="accent1"/>
          </a:solidFill>
          <a:ln w="28575" cap="flat">
            <a:noFill/>
            <a:prstDash val="solid"/>
            <a:miter/>
          </a:ln>
        </p:spPr>
        <p:txBody>
          <a:bodyPr rtlCol="0" anchor="ctr"/>
          <a:lstStyle/>
          <a:p>
            <a:endParaRPr lang="uk-UA" dirty="0"/>
          </a:p>
        </p:txBody>
      </p:sp>
      <p:pic>
        <p:nvPicPr>
          <p:cNvPr id="63" name="Picture 62">
            <a:extLst>
              <a:ext uri="{FF2B5EF4-FFF2-40B4-BE49-F238E27FC236}">
                <a16:creationId xmlns:a16="http://schemas.microsoft.com/office/drawing/2014/main" id="{215E0661-51D4-4A62-AF52-75D0656FF79B}"/>
              </a:ext>
            </a:extLst>
          </p:cNvPr>
          <p:cNvPicPr>
            <a:picLocks noChangeAspect="1"/>
          </p:cNvPicPr>
          <p:nvPr userDrawn="1"/>
        </p:nvPicPr>
        <p:blipFill>
          <a:blip r:embed="rId4"/>
          <a:stretch>
            <a:fillRect/>
          </a:stretch>
        </p:blipFill>
        <p:spPr>
          <a:xfrm>
            <a:off x="2107918" y="-63500"/>
            <a:ext cx="7976164" cy="6731122"/>
          </a:xfrm>
          <a:prstGeom prst="rect">
            <a:avLst/>
          </a:prstGeom>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74341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7B535431-B9A7-42FB-94A6-E406C0666A23}"/>
              </a:ext>
            </a:extLst>
          </p:cNvPr>
          <p:cNvSpPr txBox="1"/>
          <p:nvPr userDrawn="1"/>
        </p:nvSpPr>
        <p:spPr>
          <a:xfrm>
            <a:off x="747713" y="3411429"/>
            <a:ext cx="10335261" cy="1357745"/>
          </a:xfrm>
          <a:prstGeom prst="rect">
            <a:avLst/>
          </a:prstGeom>
          <a:noFill/>
        </p:spPr>
        <p:txBody>
          <a:bodyPr wrap="square" lIns="0" tIns="0" rIns="0" bIns="0" rtlCol="0">
            <a:noAutofit/>
          </a:bodyPr>
          <a:lstStyle/>
          <a:p>
            <a:pPr indent="-274320">
              <a:spcAft>
                <a:spcPts val="900"/>
              </a:spcAft>
            </a:pPr>
            <a:endParaRPr lang="en-US" sz="8000" dirty="0">
              <a:latin typeface="e-Ukraine UltraLight" panose="00000900000000000000" pitchFamily="2" charset="0"/>
            </a:endParaRPr>
          </a:p>
        </p:txBody>
      </p:sp>
      <p:sp>
        <p:nvSpPr>
          <p:cNvPr id="18" name="Graphic 8">
            <a:extLst>
              <a:ext uri="{FF2B5EF4-FFF2-40B4-BE49-F238E27FC236}">
                <a16:creationId xmlns:a16="http://schemas.microsoft.com/office/drawing/2014/main" id="{3E001DD6-207C-47B8-830C-36F0CCFA2243}"/>
              </a:ext>
            </a:extLst>
          </p:cNvPr>
          <p:cNvSpPr/>
          <p:nvPr userDrawn="1"/>
        </p:nvSpPr>
        <p:spPr>
          <a:xfrm>
            <a:off x="10639872" y="505054"/>
            <a:ext cx="1234664" cy="1809955"/>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noFill/>
          <a:ln w="28575" cap="flat">
            <a:solidFill>
              <a:schemeClr val="bg2"/>
            </a:solidFill>
            <a:prstDash val="solid"/>
            <a:miter/>
          </a:ln>
        </p:spPr>
        <p:txBody>
          <a:bodyPr rtlCol="0" anchor="ctr"/>
          <a:lstStyle/>
          <a:p>
            <a:endParaRPr lang="uk-UA" dirty="0"/>
          </a:p>
        </p:txBody>
      </p:sp>
      <p:sp>
        <p:nvSpPr>
          <p:cNvPr id="20" name="Title 11">
            <a:extLst>
              <a:ext uri="{FF2B5EF4-FFF2-40B4-BE49-F238E27FC236}">
                <a16:creationId xmlns:a16="http://schemas.microsoft.com/office/drawing/2014/main" id="{4E8B84DC-C574-4E2E-9D4B-C401ECA693BA}"/>
              </a:ext>
            </a:extLst>
          </p:cNvPr>
          <p:cNvSpPr>
            <a:spLocks noGrp="1"/>
          </p:cNvSpPr>
          <p:nvPr>
            <p:ph type="title" hasCustomPrompt="1"/>
          </p:nvPr>
        </p:nvSpPr>
        <p:spPr>
          <a:xfrm>
            <a:off x="993429" y="2489367"/>
            <a:ext cx="10335261" cy="2443186"/>
          </a:xfrm>
        </p:spPr>
        <p:txBody>
          <a:bodyPr lIns="0"/>
          <a:lstStyle>
            <a:lvl1pPr algn="l">
              <a:defRPr sz="4400">
                <a:highlight>
                  <a:srgbClr val="FFCD2F"/>
                </a:highlight>
                <a:latin typeface="+mj-lt"/>
              </a:defRPr>
            </a:lvl1pPr>
          </a:lstStyle>
          <a:p>
            <a:r>
              <a:rPr lang="uk-UA" dirty="0"/>
              <a:t>Назва презентації.</a:t>
            </a:r>
            <a:r>
              <a:rPr lang="en-US" dirty="0"/>
              <a:t/>
            </a:r>
            <a:br>
              <a:rPr lang="en-US" dirty="0"/>
            </a:br>
            <a:r>
              <a:rPr lang="en-US" dirty="0"/>
              <a:t>e-Ukraine Bold 4</a:t>
            </a:r>
            <a:r>
              <a:rPr lang="uk-UA" dirty="0"/>
              <a:t>4</a:t>
            </a:r>
            <a:r>
              <a:rPr lang="en-US" dirty="0"/>
              <a:t> pt.</a:t>
            </a:r>
            <a:br>
              <a:rPr lang="en-US" dirty="0"/>
            </a:br>
            <a:r>
              <a:rPr lang="uk-UA" dirty="0"/>
              <a:t>Максимум 3 рядки</a:t>
            </a:r>
            <a:endParaRPr lang="en-US" dirty="0"/>
          </a:p>
        </p:txBody>
      </p:sp>
      <p:sp>
        <p:nvSpPr>
          <p:cNvPr id="24" name="Rectangle 23">
            <a:extLst>
              <a:ext uri="{FF2B5EF4-FFF2-40B4-BE49-F238E27FC236}">
                <a16:creationId xmlns:a16="http://schemas.microsoft.com/office/drawing/2014/main" id="{5DE45C79-ACC8-49EB-B030-DEED80788FB5}"/>
              </a:ext>
            </a:extLst>
          </p:cNvPr>
          <p:cNvSpPr/>
          <p:nvPr userDrawn="1"/>
        </p:nvSpPr>
        <p:spPr bwMode="ltGray">
          <a:xfrm>
            <a:off x="696000" y="675000"/>
            <a:ext cx="10800000" cy="55080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2" charset="-52"/>
            </a:endParaRPr>
          </a:p>
        </p:txBody>
      </p:sp>
      <p:sp>
        <p:nvSpPr>
          <p:cNvPr id="25" name="Graphic 20">
            <a:extLst>
              <a:ext uri="{FF2B5EF4-FFF2-40B4-BE49-F238E27FC236}">
                <a16:creationId xmlns:a16="http://schemas.microsoft.com/office/drawing/2014/main" id="{D6319FDD-45AF-45E5-B73A-5F51E1620A5C}"/>
              </a:ext>
            </a:extLst>
          </p:cNvPr>
          <p:cNvSpPr/>
          <p:nvPr userDrawn="1"/>
        </p:nvSpPr>
        <p:spPr>
          <a:xfrm>
            <a:off x="-1247775" y="5091566"/>
            <a:ext cx="2495550" cy="2781300"/>
          </a:xfrm>
          <a:custGeom>
            <a:avLst/>
            <a:gdLst>
              <a:gd name="connsiteX0" fmla="*/ 7144 w 2495550"/>
              <a:gd name="connsiteY0" fmla="*/ 2490216 h 2781300"/>
              <a:gd name="connsiteX1" fmla="*/ 7144 w 2495550"/>
              <a:gd name="connsiteY1" fmla="*/ 2780348 h 2781300"/>
              <a:gd name="connsiteX2" fmla="*/ 2494598 w 2495550"/>
              <a:gd name="connsiteY2" fmla="*/ 296990 h 2781300"/>
              <a:gd name="connsiteX3" fmla="*/ 2494598 w 2495550"/>
              <a:gd name="connsiteY3" fmla="*/ 7144 h 2781300"/>
              <a:gd name="connsiteX4" fmla="*/ 7144 w 2495550"/>
              <a:gd name="connsiteY4" fmla="*/ 2490216 h 278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550" h="2781300">
                <a:moveTo>
                  <a:pt x="7144" y="2490216"/>
                </a:moveTo>
                <a:lnTo>
                  <a:pt x="7144" y="2780348"/>
                </a:lnTo>
                <a:lnTo>
                  <a:pt x="2494598" y="296990"/>
                </a:lnTo>
                <a:lnTo>
                  <a:pt x="2494598" y="7144"/>
                </a:lnTo>
                <a:lnTo>
                  <a:pt x="7144" y="2490216"/>
                </a:lnTo>
                <a:close/>
              </a:path>
            </a:pathLst>
          </a:custGeom>
          <a:solidFill>
            <a:schemeClr val="accent1"/>
          </a:solidFill>
          <a:ln w="9525" cap="flat">
            <a:noFill/>
            <a:prstDash val="solid"/>
            <a:miter/>
          </a:ln>
        </p:spPr>
        <p:txBody>
          <a:bodyPr rtlCol="0" anchor="ctr"/>
          <a:lstStyle/>
          <a:p>
            <a:endParaRPr lang="uk-UA" dirty="0"/>
          </a:p>
        </p:txBody>
      </p:sp>
      <p:sp>
        <p:nvSpPr>
          <p:cNvPr id="26" name="Rectangle 25">
            <a:extLst>
              <a:ext uri="{FF2B5EF4-FFF2-40B4-BE49-F238E27FC236}">
                <a16:creationId xmlns:a16="http://schemas.microsoft.com/office/drawing/2014/main" id="{9966A57D-64CA-4A9E-A353-11B7FEF783AD}"/>
              </a:ext>
            </a:extLst>
          </p:cNvPr>
          <p:cNvSpPr/>
          <p:nvPr userDrawn="1"/>
        </p:nvSpPr>
        <p:spPr bwMode="ltGray">
          <a:xfrm>
            <a:off x="-3352800" y="2476500"/>
            <a:ext cx="3352800" cy="6057900"/>
          </a:xfrm>
          <a:prstGeom prst="rect">
            <a:avLst/>
          </a:prstGeom>
          <a:solidFill>
            <a:srgbClr val="E6E6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dirty="0" err="1">
              <a:solidFill>
                <a:schemeClr val="bg1"/>
              </a:solidFill>
              <a:latin typeface="e-Ukraine UltraLight" panose="00000300000000000000" pitchFamily="50" charset="0"/>
            </a:endParaRPr>
          </a:p>
        </p:txBody>
      </p:sp>
      <p:sp>
        <p:nvSpPr>
          <p:cNvPr id="28" name="Graphic 8">
            <a:extLst>
              <a:ext uri="{FF2B5EF4-FFF2-40B4-BE49-F238E27FC236}">
                <a16:creationId xmlns:a16="http://schemas.microsoft.com/office/drawing/2014/main" id="{C40BF955-9677-4186-A296-BC9CBFBE5A2D}"/>
              </a:ext>
            </a:extLst>
          </p:cNvPr>
          <p:cNvSpPr/>
          <p:nvPr userDrawn="1"/>
        </p:nvSpPr>
        <p:spPr>
          <a:xfrm>
            <a:off x="10370715" y="1723192"/>
            <a:ext cx="425626" cy="623946"/>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solidFill>
            <a:schemeClr val="bg1"/>
          </a:solidFill>
          <a:ln w="28575" cap="flat">
            <a:noFill/>
            <a:prstDash val="solid"/>
            <a:miter/>
          </a:ln>
        </p:spPr>
        <p:txBody>
          <a:bodyPr rtlCol="0" anchor="ctr"/>
          <a:lstStyle/>
          <a:p>
            <a:endParaRPr lang="uk-UA" dirty="0"/>
          </a:p>
        </p:txBody>
      </p:sp>
      <p:grpSp>
        <p:nvGrpSpPr>
          <p:cNvPr id="4" name="Graphic 10">
            <a:extLst>
              <a:ext uri="{FF2B5EF4-FFF2-40B4-BE49-F238E27FC236}">
                <a16:creationId xmlns:a16="http://schemas.microsoft.com/office/drawing/2014/main" id="{E8FBC0BF-EA5F-4124-A96D-D2E428F5E1D2}"/>
              </a:ext>
            </a:extLst>
          </p:cNvPr>
          <p:cNvGrpSpPr/>
          <p:nvPr/>
        </p:nvGrpSpPr>
        <p:grpSpPr>
          <a:xfrm>
            <a:off x="994727" y="966162"/>
            <a:ext cx="2818112" cy="813308"/>
            <a:chOff x="994727" y="966162"/>
            <a:chExt cx="2818112" cy="813308"/>
          </a:xfrm>
        </p:grpSpPr>
        <p:sp>
          <p:nvSpPr>
            <p:cNvPr id="6" name="Freeform: Shape 5">
              <a:extLst>
                <a:ext uri="{FF2B5EF4-FFF2-40B4-BE49-F238E27FC236}">
                  <a16:creationId xmlns:a16="http://schemas.microsoft.com/office/drawing/2014/main" id="{15B7C142-1860-4DC1-A0B3-7031F260AAAC}"/>
                </a:ext>
              </a:extLst>
            </p:cNvPr>
            <p:cNvSpPr/>
            <p:nvPr/>
          </p:nvSpPr>
          <p:spPr>
            <a:xfrm>
              <a:off x="993429" y="1380749"/>
              <a:ext cx="166728" cy="243992"/>
            </a:xfrm>
            <a:custGeom>
              <a:avLst/>
              <a:gdLst>
                <a:gd name="connsiteX0" fmla="*/ 1298 w 166728"/>
                <a:gd name="connsiteY0" fmla="*/ 165424 h 243992"/>
                <a:gd name="connsiteX1" fmla="*/ 1298 w 166728"/>
                <a:gd name="connsiteY1" fmla="*/ 243867 h 243992"/>
                <a:gd name="connsiteX2" fmla="*/ 165505 w 166728"/>
                <a:gd name="connsiteY2" fmla="*/ 79701 h 243992"/>
                <a:gd name="connsiteX3" fmla="*/ 165505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867"/>
                  </a:lnTo>
                  <a:lnTo>
                    <a:pt x="165505" y="79701"/>
                  </a:lnTo>
                  <a:lnTo>
                    <a:pt x="165505"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7" name="Freeform: Shape 6">
              <a:extLst>
                <a:ext uri="{FF2B5EF4-FFF2-40B4-BE49-F238E27FC236}">
                  <a16:creationId xmlns:a16="http://schemas.microsoft.com/office/drawing/2014/main" id="{E67C827E-26DB-4465-82E1-AAD5E1183991}"/>
                </a:ext>
              </a:extLst>
            </p:cNvPr>
            <p:cNvSpPr/>
            <p:nvPr/>
          </p:nvSpPr>
          <p:spPr>
            <a:xfrm>
              <a:off x="1642570" y="1081573"/>
              <a:ext cx="166728" cy="243992"/>
            </a:xfrm>
            <a:custGeom>
              <a:avLst/>
              <a:gdLst>
                <a:gd name="connsiteX0" fmla="*/ 1298 w 166728"/>
                <a:gd name="connsiteY0" fmla="*/ 165424 h 243992"/>
                <a:gd name="connsiteX1" fmla="*/ 1298 w 166728"/>
                <a:gd name="connsiteY1" fmla="*/ 243908 h 243992"/>
                <a:gd name="connsiteX2" fmla="*/ 165464 w 166728"/>
                <a:gd name="connsiteY2" fmla="*/ 79701 h 243992"/>
                <a:gd name="connsiteX3" fmla="*/ 165464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464" y="79701"/>
                  </a:lnTo>
                  <a:lnTo>
                    <a:pt x="165464"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9" name="Freeform: Shape 8">
              <a:extLst>
                <a:ext uri="{FF2B5EF4-FFF2-40B4-BE49-F238E27FC236}">
                  <a16:creationId xmlns:a16="http://schemas.microsoft.com/office/drawing/2014/main" id="{67649ED8-87F2-4390-A7F0-658355B8C512}"/>
                </a:ext>
              </a:extLst>
            </p:cNvPr>
            <p:cNvSpPr/>
            <p:nvPr/>
          </p:nvSpPr>
          <p:spPr>
            <a:xfrm>
              <a:off x="1642570" y="1198242"/>
              <a:ext cx="166728" cy="243992"/>
            </a:xfrm>
            <a:custGeom>
              <a:avLst/>
              <a:gdLst>
                <a:gd name="connsiteX0" fmla="*/ 1298 w 166728"/>
                <a:gd name="connsiteY0" fmla="*/ 165424 h 243992"/>
                <a:gd name="connsiteX1" fmla="*/ 1298 w 166728"/>
                <a:gd name="connsiteY1" fmla="*/ 243908 h 243992"/>
                <a:gd name="connsiteX2" fmla="*/ 165464 w 166728"/>
                <a:gd name="connsiteY2" fmla="*/ 79701 h 243992"/>
                <a:gd name="connsiteX3" fmla="*/ 165464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464" y="79701"/>
                  </a:lnTo>
                  <a:lnTo>
                    <a:pt x="165464"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10" name="Freeform: Shape 9">
              <a:extLst>
                <a:ext uri="{FF2B5EF4-FFF2-40B4-BE49-F238E27FC236}">
                  <a16:creationId xmlns:a16="http://schemas.microsoft.com/office/drawing/2014/main" id="{49774A96-BC87-4B6B-85E8-DBBF0A415E59}"/>
                </a:ext>
              </a:extLst>
            </p:cNvPr>
            <p:cNvSpPr/>
            <p:nvPr/>
          </p:nvSpPr>
          <p:spPr>
            <a:xfrm>
              <a:off x="1642570" y="964864"/>
              <a:ext cx="166728" cy="243992"/>
            </a:xfrm>
            <a:custGeom>
              <a:avLst/>
              <a:gdLst>
                <a:gd name="connsiteX0" fmla="*/ 1298 w 166728"/>
                <a:gd name="connsiteY0" fmla="*/ 165505 h 243992"/>
                <a:gd name="connsiteX1" fmla="*/ 1298 w 166728"/>
                <a:gd name="connsiteY1" fmla="*/ 243949 h 243992"/>
                <a:gd name="connsiteX2" fmla="*/ 165464 w 166728"/>
                <a:gd name="connsiteY2" fmla="*/ 79783 h 243992"/>
                <a:gd name="connsiteX3" fmla="*/ 165464 w 166728"/>
                <a:gd name="connsiteY3" fmla="*/ 1298 h 243992"/>
                <a:gd name="connsiteX4" fmla="*/ 1298 w 166728"/>
                <a:gd name="connsiteY4" fmla="*/ 165505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505"/>
                  </a:moveTo>
                  <a:lnTo>
                    <a:pt x="1298" y="243949"/>
                  </a:lnTo>
                  <a:lnTo>
                    <a:pt x="165464" y="79783"/>
                  </a:lnTo>
                  <a:lnTo>
                    <a:pt x="165464" y="1298"/>
                  </a:lnTo>
                  <a:lnTo>
                    <a:pt x="1298" y="165505"/>
                  </a:lnTo>
                  <a:close/>
                </a:path>
              </a:pathLst>
            </a:custGeom>
            <a:solidFill>
              <a:srgbClr val="FFD700"/>
            </a:solidFill>
            <a:ln w="4055" cap="flat">
              <a:noFill/>
              <a:prstDash val="solid"/>
              <a:miter/>
            </a:ln>
          </p:spPr>
          <p:txBody>
            <a:bodyPr rtlCol="0" anchor="ctr"/>
            <a:lstStyle/>
            <a:p>
              <a:endParaRPr lang="uk-UA"/>
            </a:p>
          </p:txBody>
        </p:sp>
        <p:sp>
          <p:nvSpPr>
            <p:cNvPr id="12" name="Freeform: Shape 11">
              <a:extLst>
                <a:ext uri="{FF2B5EF4-FFF2-40B4-BE49-F238E27FC236}">
                  <a16:creationId xmlns:a16="http://schemas.microsoft.com/office/drawing/2014/main" id="{2916D2CC-280A-4BBB-8536-92C28C708BDA}"/>
                </a:ext>
              </a:extLst>
            </p:cNvPr>
            <p:cNvSpPr/>
            <p:nvPr/>
          </p:nvSpPr>
          <p:spPr>
            <a:xfrm>
              <a:off x="993429" y="1314911"/>
              <a:ext cx="813308" cy="463586"/>
            </a:xfrm>
            <a:custGeom>
              <a:avLst/>
              <a:gdLst>
                <a:gd name="connsiteX0" fmla="*/ 650440 w 813307"/>
                <a:gd name="connsiteY0" fmla="*/ 297342 h 463585"/>
                <a:gd name="connsiteX1" fmla="*/ 407952 w 813307"/>
                <a:gd name="connsiteY1" fmla="*/ 403316 h 463585"/>
                <a:gd name="connsiteX2" fmla="*/ 167660 w 813307"/>
                <a:gd name="connsiteY2" fmla="*/ 298278 h 463585"/>
                <a:gd name="connsiteX3" fmla="*/ 1298 w 813307"/>
                <a:gd name="connsiteY3" fmla="*/ 464559 h 463585"/>
                <a:gd name="connsiteX4" fmla="*/ 814606 w 813307"/>
                <a:gd name="connsiteY4" fmla="*/ 464559 h 463585"/>
                <a:gd name="connsiteX5" fmla="*/ 814606 w 813307"/>
                <a:gd name="connsiteY5" fmla="*/ 1298 h 463585"/>
                <a:gd name="connsiteX6" fmla="*/ 650440 w 813307"/>
                <a:gd name="connsiteY6" fmla="*/ 165424 h 463585"/>
                <a:gd name="connsiteX7" fmla="*/ 650440 w 813307"/>
                <a:gd name="connsiteY7" fmla="*/ 297342 h 46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307" h="463585">
                  <a:moveTo>
                    <a:pt x="650440" y="297342"/>
                  </a:moveTo>
                  <a:lnTo>
                    <a:pt x="407952" y="403316"/>
                  </a:lnTo>
                  <a:lnTo>
                    <a:pt x="167660" y="298278"/>
                  </a:lnTo>
                  <a:lnTo>
                    <a:pt x="1298" y="464559"/>
                  </a:lnTo>
                  <a:lnTo>
                    <a:pt x="814606" y="464559"/>
                  </a:lnTo>
                  <a:lnTo>
                    <a:pt x="814606" y="1298"/>
                  </a:lnTo>
                  <a:lnTo>
                    <a:pt x="650440" y="165424"/>
                  </a:lnTo>
                  <a:lnTo>
                    <a:pt x="650440" y="297342"/>
                  </a:lnTo>
                  <a:close/>
                </a:path>
              </a:pathLst>
            </a:custGeom>
            <a:solidFill>
              <a:srgbClr val="FFD700"/>
            </a:solidFill>
            <a:ln w="4055" cap="flat">
              <a:noFill/>
              <a:prstDash val="solid"/>
              <a:miter/>
            </a:ln>
          </p:spPr>
          <p:txBody>
            <a:bodyPr rtlCol="0" anchor="ctr"/>
            <a:lstStyle/>
            <a:p>
              <a:endParaRPr lang="uk-UA"/>
            </a:p>
          </p:txBody>
        </p:sp>
        <p:sp>
          <p:nvSpPr>
            <p:cNvPr id="13" name="Freeform: Shape 12">
              <a:extLst>
                <a:ext uri="{FF2B5EF4-FFF2-40B4-BE49-F238E27FC236}">
                  <a16:creationId xmlns:a16="http://schemas.microsoft.com/office/drawing/2014/main" id="{E7CF4F2A-E57C-49CD-895C-4F7733094D4D}"/>
                </a:ext>
              </a:extLst>
            </p:cNvPr>
            <p:cNvSpPr/>
            <p:nvPr/>
          </p:nvSpPr>
          <p:spPr>
            <a:xfrm>
              <a:off x="993429" y="964864"/>
              <a:ext cx="776709" cy="426987"/>
            </a:xfrm>
            <a:custGeom>
              <a:avLst/>
              <a:gdLst>
                <a:gd name="connsiteX0" fmla="*/ 776421 w 776709"/>
                <a:gd name="connsiteY0" fmla="*/ 1298 h 426986"/>
                <a:gd name="connsiteX1" fmla="*/ 1298 w 776709"/>
                <a:gd name="connsiteY1" fmla="*/ 1298 h 426986"/>
                <a:gd name="connsiteX2" fmla="*/ 1298 w 776709"/>
                <a:gd name="connsiteY2" fmla="*/ 426455 h 426986"/>
                <a:gd name="connsiteX3" fmla="*/ 165505 w 776709"/>
                <a:gd name="connsiteY3" fmla="*/ 262248 h 426986"/>
                <a:gd name="connsiteX4" fmla="*/ 165505 w 776709"/>
                <a:gd name="connsiteY4" fmla="*/ 126588 h 426986"/>
                <a:gd name="connsiteX5" fmla="*/ 650440 w 776709"/>
                <a:gd name="connsiteY5" fmla="*/ 126588 h 426986"/>
                <a:gd name="connsiteX6" fmla="*/ 776421 w 776709"/>
                <a:gd name="connsiteY6" fmla="*/ 1298 h 426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709" h="426986">
                  <a:moveTo>
                    <a:pt x="776421" y="1298"/>
                  </a:moveTo>
                  <a:lnTo>
                    <a:pt x="1298" y="1298"/>
                  </a:lnTo>
                  <a:lnTo>
                    <a:pt x="1298" y="426455"/>
                  </a:lnTo>
                  <a:lnTo>
                    <a:pt x="165505" y="262248"/>
                  </a:lnTo>
                  <a:lnTo>
                    <a:pt x="165505" y="126588"/>
                  </a:lnTo>
                  <a:lnTo>
                    <a:pt x="650440" y="126588"/>
                  </a:lnTo>
                  <a:lnTo>
                    <a:pt x="776421" y="1298"/>
                  </a:lnTo>
                  <a:close/>
                </a:path>
              </a:pathLst>
            </a:custGeom>
            <a:solidFill>
              <a:srgbClr val="FFD700"/>
            </a:solidFill>
            <a:ln w="4055"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A6A563E0-DD48-4D02-80C5-6903FD2A272F}"/>
                </a:ext>
              </a:extLst>
            </p:cNvPr>
            <p:cNvSpPr/>
            <p:nvPr/>
          </p:nvSpPr>
          <p:spPr>
            <a:xfrm>
              <a:off x="993429" y="1264080"/>
              <a:ext cx="166728" cy="243992"/>
            </a:xfrm>
            <a:custGeom>
              <a:avLst/>
              <a:gdLst>
                <a:gd name="connsiteX0" fmla="*/ 1298 w 166728"/>
                <a:gd name="connsiteY0" fmla="*/ 165424 h 243992"/>
                <a:gd name="connsiteX1" fmla="*/ 1298 w 166728"/>
                <a:gd name="connsiteY1" fmla="*/ 243908 h 243992"/>
                <a:gd name="connsiteX2" fmla="*/ 165505 w 166728"/>
                <a:gd name="connsiteY2" fmla="*/ 79701 h 243992"/>
                <a:gd name="connsiteX3" fmla="*/ 165505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505" y="79701"/>
                  </a:lnTo>
                  <a:lnTo>
                    <a:pt x="165505"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7FD9BFB1-83C8-41C3-B7E1-2D8384D2357C}"/>
                </a:ext>
              </a:extLst>
            </p:cNvPr>
            <p:cNvSpPr/>
            <p:nvPr/>
          </p:nvSpPr>
          <p:spPr>
            <a:xfrm>
              <a:off x="993429" y="1497377"/>
              <a:ext cx="166728" cy="243992"/>
            </a:xfrm>
            <a:custGeom>
              <a:avLst/>
              <a:gdLst>
                <a:gd name="connsiteX0" fmla="*/ 1298 w 166728"/>
                <a:gd name="connsiteY0" fmla="*/ 165424 h 243992"/>
                <a:gd name="connsiteX1" fmla="*/ 1298 w 166728"/>
                <a:gd name="connsiteY1" fmla="*/ 243908 h 243992"/>
                <a:gd name="connsiteX2" fmla="*/ 165505 w 166728"/>
                <a:gd name="connsiteY2" fmla="*/ 79701 h 243992"/>
                <a:gd name="connsiteX3" fmla="*/ 165505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505" y="79701"/>
                  </a:lnTo>
                  <a:lnTo>
                    <a:pt x="165505"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EC995CB9-98B5-43B6-B99D-3330658EB936}"/>
                </a:ext>
              </a:extLst>
            </p:cNvPr>
            <p:cNvSpPr/>
            <p:nvPr/>
          </p:nvSpPr>
          <p:spPr>
            <a:xfrm>
              <a:off x="1273003" y="1239192"/>
              <a:ext cx="40665" cy="187061"/>
            </a:xfrm>
            <a:custGeom>
              <a:avLst/>
              <a:gdLst>
                <a:gd name="connsiteX0" fmla="*/ 15694 w 40665"/>
                <a:gd name="connsiteY0" fmla="*/ 189376 h 187060"/>
                <a:gd name="connsiteX1" fmla="*/ 1298 w 40665"/>
                <a:gd name="connsiteY1" fmla="*/ 189376 h 187060"/>
                <a:gd name="connsiteX2" fmla="*/ 1298 w 40665"/>
                <a:gd name="connsiteY2" fmla="*/ 1298 h 187060"/>
                <a:gd name="connsiteX3" fmla="*/ 32082 w 40665"/>
                <a:gd name="connsiteY3" fmla="*/ 71121 h 187060"/>
                <a:gd name="connsiteX4" fmla="*/ 42330 w 40665"/>
                <a:gd name="connsiteY4" fmla="*/ 156518 h 187060"/>
                <a:gd name="connsiteX5" fmla="*/ 15694 w 40665"/>
                <a:gd name="connsiteY5" fmla="*/ 189376 h 18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5" h="187060">
                  <a:moveTo>
                    <a:pt x="15694" y="189376"/>
                  </a:moveTo>
                  <a:lnTo>
                    <a:pt x="1298" y="189376"/>
                  </a:lnTo>
                  <a:lnTo>
                    <a:pt x="1298" y="1298"/>
                  </a:lnTo>
                  <a:cubicBezTo>
                    <a:pt x="18154" y="21070"/>
                    <a:pt x="28853" y="45343"/>
                    <a:pt x="32082" y="71121"/>
                  </a:cubicBezTo>
                  <a:lnTo>
                    <a:pt x="42330" y="156518"/>
                  </a:lnTo>
                  <a:cubicBezTo>
                    <a:pt x="29113" y="163098"/>
                    <a:pt x="19398" y="175082"/>
                    <a:pt x="15694" y="189376"/>
                  </a:cubicBezTo>
                  <a:close/>
                </a:path>
              </a:pathLst>
            </a:custGeom>
            <a:solidFill>
              <a:srgbClr val="FFD700"/>
            </a:solidFill>
            <a:ln w="4055"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EEEAA4F9-E491-4400-ADA0-C758A221848A}"/>
                </a:ext>
              </a:extLst>
            </p:cNvPr>
            <p:cNvSpPr/>
            <p:nvPr/>
          </p:nvSpPr>
          <p:spPr>
            <a:xfrm>
              <a:off x="1273003" y="1452848"/>
              <a:ext cx="60998" cy="77264"/>
            </a:xfrm>
            <a:custGeom>
              <a:avLst/>
              <a:gdLst>
                <a:gd name="connsiteX0" fmla="*/ 51357 w 60998"/>
                <a:gd name="connsiteY0" fmla="*/ 37409 h 77264"/>
                <a:gd name="connsiteX1" fmla="*/ 63557 w 60998"/>
                <a:gd name="connsiteY1" fmla="*/ 40134 h 77264"/>
                <a:gd name="connsiteX2" fmla="*/ 58474 w 60998"/>
                <a:gd name="connsiteY2" fmla="*/ 77383 h 77264"/>
                <a:gd name="connsiteX3" fmla="*/ 1298 w 60998"/>
                <a:gd name="connsiteY3" fmla="*/ 77383 h 77264"/>
                <a:gd name="connsiteX4" fmla="*/ 1298 w 60998"/>
                <a:gd name="connsiteY4" fmla="*/ 1298 h 77264"/>
                <a:gd name="connsiteX5" fmla="*/ 15694 w 60998"/>
                <a:gd name="connsiteY5" fmla="*/ 1298 h 77264"/>
                <a:gd name="connsiteX6" fmla="*/ 51357 w 60998"/>
                <a:gd name="connsiteY6" fmla="*/ 37409 h 7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98" h="77264">
                  <a:moveTo>
                    <a:pt x="51357" y="37409"/>
                  </a:moveTo>
                  <a:lnTo>
                    <a:pt x="63557" y="40134"/>
                  </a:lnTo>
                  <a:cubicBezTo>
                    <a:pt x="60214" y="52268"/>
                    <a:pt x="58502" y="64797"/>
                    <a:pt x="58474" y="77383"/>
                  </a:cubicBezTo>
                  <a:lnTo>
                    <a:pt x="1298" y="77383"/>
                  </a:lnTo>
                  <a:lnTo>
                    <a:pt x="1298" y="1298"/>
                  </a:lnTo>
                  <a:lnTo>
                    <a:pt x="15694" y="1298"/>
                  </a:lnTo>
                  <a:cubicBezTo>
                    <a:pt x="20350" y="18801"/>
                    <a:pt x="33916" y="32533"/>
                    <a:pt x="51357" y="37409"/>
                  </a:cubicBezTo>
                  <a:close/>
                </a:path>
              </a:pathLst>
            </a:custGeom>
            <a:solidFill>
              <a:srgbClr val="FFD700"/>
            </a:solidFill>
            <a:ln w="4055"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A73A8C73-2250-4188-A874-E87D0A89548A}"/>
                </a:ext>
              </a:extLst>
            </p:cNvPr>
            <p:cNvSpPr/>
            <p:nvPr/>
          </p:nvSpPr>
          <p:spPr>
            <a:xfrm>
              <a:off x="1355595" y="1497621"/>
              <a:ext cx="32532" cy="32532"/>
            </a:xfrm>
            <a:custGeom>
              <a:avLst/>
              <a:gdLst>
                <a:gd name="connsiteX0" fmla="*/ 33058 w 32532"/>
                <a:gd name="connsiteY0" fmla="*/ 32611 h 32532"/>
                <a:gd name="connsiteX1" fmla="*/ 1298 w 32532"/>
                <a:gd name="connsiteY1" fmla="*/ 32611 h 32532"/>
                <a:gd name="connsiteX2" fmla="*/ 5812 w 32532"/>
                <a:gd name="connsiteY2" fmla="*/ 1298 h 32532"/>
                <a:gd name="connsiteX3" fmla="*/ 33058 w 32532"/>
                <a:gd name="connsiteY3" fmla="*/ 32611 h 32532"/>
              </a:gdLst>
              <a:ahLst/>
              <a:cxnLst>
                <a:cxn ang="0">
                  <a:pos x="connsiteX0" y="connsiteY0"/>
                </a:cxn>
                <a:cxn ang="0">
                  <a:pos x="connsiteX1" y="connsiteY1"/>
                </a:cxn>
                <a:cxn ang="0">
                  <a:pos x="connsiteX2" y="connsiteY2"/>
                </a:cxn>
                <a:cxn ang="0">
                  <a:pos x="connsiteX3" y="connsiteY3"/>
                </a:cxn>
              </a:cxnLst>
              <a:rect l="l" t="t" r="r" b="b"/>
              <a:pathLst>
                <a:path w="32532" h="32532">
                  <a:moveTo>
                    <a:pt x="33058" y="32611"/>
                  </a:moveTo>
                  <a:lnTo>
                    <a:pt x="1298" y="32611"/>
                  </a:lnTo>
                  <a:cubicBezTo>
                    <a:pt x="1319" y="22013"/>
                    <a:pt x="2835" y="11469"/>
                    <a:pt x="5812" y="1298"/>
                  </a:cubicBezTo>
                  <a:cubicBezTo>
                    <a:pt x="21428" y="3486"/>
                    <a:pt x="33050" y="16841"/>
                    <a:pt x="33058" y="32611"/>
                  </a:cubicBezTo>
                  <a:close/>
                </a:path>
              </a:pathLst>
            </a:custGeom>
            <a:solidFill>
              <a:srgbClr val="FFD700"/>
            </a:solidFill>
            <a:ln w="4055"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D2A3B3E5-0384-457B-A7D8-937A0C22B3D4}"/>
                </a:ext>
              </a:extLst>
            </p:cNvPr>
            <p:cNvSpPr/>
            <p:nvPr/>
          </p:nvSpPr>
          <p:spPr>
            <a:xfrm>
              <a:off x="1358523" y="1554512"/>
              <a:ext cx="28466" cy="52865"/>
            </a:xfrm>
            <a:custGeom>
              <a:avLst/>
              <a:gdLst>
                <a:gd name="connsiteX0" fmla="*/ 1298 w 28465"/>
                <a:gd name="connsiteY0" fmla="*/ 1298 h 52865"/>
                <a:gd name="connsiteX1" fmla="*/ 30130 w 28465"/>
                <a:gd name="connsiteY1" fmla="*/ 1298 h 52865"/>
                <a:gd name="connsiteX2" fmla="*/ 30130 w 28465"/>
                <a:gd name="connsiteY2" fmla="*/ 54855 h 52865"/>
                <a:gd name="connsiteX3" fmla="*/ 1298 w 28465"/>
                <a:gd name="connsiteY3" fmla="*/ 1298 h 52865"/>
              </a:gdLst>
              <a:ahLst/>
              <a:cxnLst>
                <a:cxn ang="0">
                  <a:pos x="connsiteX0" y="connsiteY0"/>
                </a:cxn>
                <a:cxn ang="0">
                  <a:pos x="connsiteX1" y="connsiteY1"/>
                </a:cxn>
                <a:cxn ang="0">
                  <a:pos x="connsiteX2" y="connsiteY2"/>
                </a:cxn>
                <a:cxn ang="0">
                  <a:pos x="connsiteX3" y="connsiteY3"/>
                </a:cxn>
              </a:cxnLst>
              <a:rect l="l" t="t" r="r" b="b"/>
              <a:pathLst>
                <a:path w="28465" h="52865">
                  <a:moveTo>
                    <a:pt x="1298" y="1298"/>
                  </a:moveTo>
                  <a:lnTo>
                    <a:pt x="30130" y="1298"/>
                  </a:lnTo>
                  <a:lnTo>
                    <a:pt x="30130" y="54855"/>
                  </a:lnTo>
                  <a:cubicBezTo>
                    <a:pt x="15865" y="39930"/>
                    <a:pt x="5902" y="21424"/>
                    <a:pt x="1298" y="1298"/>
                  </a:cubicBezTo>
                  <a:close/>
                </a:path>
              </a:pathLst>
            </a:custGeom>
            <a:solidFill>
              <a:srgbClr val="FFD700"/>
            </a:solidFill>
            <a:ln w="4055"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BC13C623-EF3E-4B49-ACDF-1EEBCDCBDDE6}"/>
                </a:ext>
              </a:extLst>
            </p:cNvPr>
            <p:cNvSpPr/>
            <p:nvPr/>
          </p:nvSpPr>
          <p:spPr>
            <a:xfrm>
              <a:off x="1372186" y="1411085"/>
              <a:ext cx="56932" cy="81331"/>
            </a:xfrm>
            <a:custGeom>
              <a:avLst/>
              <a:gdLst>
                <a:gd name="connsiteX0" fmla="*/ 57091 w 56931"/>
                <a:gd name="connsiteY0" fmla="*/ 64574 h 81330"/>
                <a:gd name="connsiteX1" fmla="*/ 29195 w 56931"/>
                <a:gd name="connsiteY1" fmla="*/ 83320 h 81330"/>
                <a:gd name="connsiteX2" fmla="*/ 1298 w 56931"/>
                <a:gd name="connsiteY2" fmla="*/ 64574 h 81330"/>
                <a:gd name="connsiteX3" fmla="*/ 29195 w 56931"/>
                <a:gd name="connsiteY3" fmla="*/ 1298 h 81330"/>
                <a:gd name="connsiteX4" fmla="*/ 57091 w 56931"/>
                <a:gd name="connsiteY4" fmla="*/ 64574 h 8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31" h="81330">
                  <a:moveTo>
                    <a:pt x="57091" y="64574"/>
                  </a:moveTo>
                  <a:cubicBezTo>
                    <a:pt x="46132" y="67904"/>
                    <a:pt x="36417" y="74431"/>
                    <a:pt x="29195" y="83320"/>
                  </a:cubicBezTo>
                  <a:cubicBezTo>
                    <a:pt x="21993" y="74407"/>
                    <a:pt x="12270" y="67872"/>
                    <a:pt x="1298" y="64574"/>
                  </a:cubicBezTo>
                  <a:cubicBezTo>
                    <a:pt x="13087" y="44668"/>
                    <a:pt x="22452" y="23424"/>
                    <a:pt x="29195" y="1298"/>
                  </a:cubicBezTo>
                  <a:cubicBezTo>
                    <a:pt x="35957" y="23420"/>
                    <a:pt x="45323" y="44660"/>
                    <a:pt x="57091" y="64574"/>
                  </a:cubicBezTo>
                  <a:close/>
                </a:path>
              </a:pathLst>
            </a:custGeom>
            <a:solidFill>
              <a:srgbClr val="FFD700"/>
            </a:solidFill>
            <a:ln w="4055"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E26A251-B8E4-4C22-BF72-8FA4D70A077B}"/>
                </a:ext>
              </a:extLst>
            </p:cNvPr>
            <p:cNvSpPr/>
            <p:nvPr/>
          </p:nvSpPr>
          <p:spPr>
            <a:xfrm>
              <a:off x="1412770" y="1554512"/>
              <a:ext cx="28466" cy="52865"/>
            </a:xfrm>
            <a:custGeom>
              <a:avLst/>
              <a:gdLst>
                <a:gd name="connsiteX0" fmla="*/ 1298 w 28465"/>
                <a:gd name="connsiteY0" fmla="*/ 1298 h 52865"/>
                <a:gd name="connsiteX1" fmla="*/ 30211 w 28465"/>
                <a:gd name="connsiteY1" fmla="*/ 1298 h 52865"/>
                <a:gd name="connsiteX2" fmla="*/ 1298 w 28465"/>
                <a:gd name="connsiteY2" fmla="*/ 54855 h 52865"/>
              </a:gdLst>
              <a:ahLst/>
              <a:cxnLst>
                <a:cxn ang="0">
                  <a:pos x="connsiteX0" y="connsiteY0"/>
                </a:cxn>
                <a:cxn ang="0">
                  <a:pos x="connsiteX1" y="connsiteY1"/>
                </a:cxn>
                <a:cxn ang="0">
                  <a:pos x="connsiteX2" y="connsiteY2"/>
                </a:cxn>
              </a:cxnLst>
              <a:rect l="l" t="t" r="r" b="b"/>
              <a:pathLst>
                <a:path w="28465" h="52865">
                  <a:moveTo>
                    <a:pt x="1298" y="1298"/>
                  </a:moveTo>
                  <a:lnTo>
                    <a:pt x="30211" y="1298"/>
                  </a:lnTo>
                  <a:cubicBezTo>
                    <a:pt x="25563" y="21424"/>
                    <a:pt x="15576" y="39926"/>
                    <a:pt x="1298" y="54855"/>
                  </a:cubicBezTo>
                  <a:close/>
                </a:path>
              </a:pathLst>
            </a:custGeom>
            <a:solidFill>
              <a:srgbClr val="FFD700"/>
            </a:solidFill>
            <a:ln w="4055"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8A253B75-4C2E-4891-A003-0220EBEEBCA9}"/>
                </a:ext>
              </a:extLst>
            </p:cNvPr>
            <p:cNvSpPr/>
            <p:nvPr/>
          </p:nvSpPr>
          <p:spPr>
            <a:xfrm>
              <a:off x="1412770" y="1497580"/>
              <a:ext cx="32532" cy="32532"/>
            </a:xfrm>
            <a:custGeom>
              <a:avLst/>
              <a:gdLst>
                <a:gd name="connsiteX0" fmla="*/ 28625 w 32532"/>
                <a:gd name="connsiteY0" fmla="*/ 1298 h 32532"/>
                <a:gd name="connsiteX1" fmla="*/ 33058 w 32532"/>
                <a:gd name="connsiteY1" fmla="*/ 32611 h 32532"/>
                <a:gd name="connsiteX2" fmla="*/ 1298 w 32532"/>
                <a:gd name="connsiteY2" fmla="*/ 32611 h 32532"/>
                <a:gd name="connsiteX3" fmla="*/ 28625 w 32532"/>
                <a:gd name="connsiteY3" fmla="*/ 1298 h 32532"/>
              </a:gdLst>
              <a:ahLst/>
              <a:cxnLst>
                <a:cxn ang="0">
                  <a:pos x="connsiteX0" y="connsiteY0"/>
                </a:cxn>
                <a:cxn ang="0">
                  <a:pos x="connsiteX1" y="connsiteY1"/>
                </a:cxn>
                <a:cxn ang="0">
                  <a:pos x="connsiteX2" y="connsiteY2"/>
                </a:cxn>
                <a:cxn ang="0">
                  <a:pos x="connsiteX3" y="connsiteY3"/>
                </a:cxn>
              </a:cxnLst>
              <a:rect l="l" t="t" r="r" b="b"/>
              <a:pathLst>
                <a:path w="32532" h="32532">
                  <a:moveTo>
                    <a:pt x="28625" y="1298"/>
                  </a:moveTo>
                  <a:cubicBezTo>
                    <a:pt x="31553" y="11477"/>
                    <a:pt x="33046" y="22017"/>
                    <a:pt x="33058" y="32611"/>
                  </a:cubicBezTo>
                  <a:lnTo>
                    <a:pt x="1298" y="32611"/>
                  </a:lnTo>
                  <a:cubicBezTo>
                    <a:pt x="1315" y="16816"/>
                    <a:pt x="12977" y="3450"/>
                    <a:pt x="28625" y="1298"/>
                  </a:cubicBezTo>
                  <a:close/>
                </a:path>
              </a:pathLst>
            </a:custGeom>
            <a:solidFill>
              <a:srgbClr val="FFD700"/>
            </a:solidFill>
            <a:ln w="4055"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4D6663F0-84E3-420A-B943-A1C8E431BB55}"/>
                </a:ext>
              </a:extLst>
            </p:cNvPr>
            <p:cNvSpPr/>
            <p:nvPr/>
          </p:nvSpPr>
          <p:spPr>
            <a:xfrm>
              <a:off x="1486171" y="1239192"/>
              <a:ext cx="40665" cy="187061"/>
            </a:xfrm>
            <a:custGeom>
              <a:avLst/>
              <a:gdLst>
                <a:gd name="connsiteX0" fmla="*/ 11505 w 40665"/>
                <a:gd name="connsiteY0" fmla="*/ 71121 h 187060"/>
                <a:gd name="connsiteX1" fmla="*/ 42289 w 40665"/>
                <a:gd name="connsiteY1" fmla="*/ 1298 h 187060"/>
                <a:gd name="connsiteX2" fmla="*/ 42289 w 40665"/>
                <a:gd name="connsiteY2" fmla="*/ 189376 h 187060"/>
                <a:gd name="connsiteX3" fmla="*/ 27894 w 40665"/>
                <a:gd name="connsiteY3" fmla="*/ 189376 h 187060"/>
                <a:gd name="connsiteX4" fmla="*/ 1298 w 40665"/>
                <a:gd name="connsiteY4" fmla="*/ 156599 h 18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5" h="187060">
                  <a:moveTo>
                    <a:pt x="11505" y="71121"/>
                  </a:moveTo>
                  <a:cubicBezTo>
                    <a:pt x="14771" y="45351"/>
                    <a:pt x="25466" y="21090"/>
                    <a:pt x="42289" y="1298"/>
                  </a:cubicBezTo>
                  <a:lnTo>
                    <a:pt x="42289" y="189376"/>
                  </a:lnTo>
                  <a:lnTo>
                    <a:pt x="27894" y="189376"/>
                  </a:lnTo>
                  <a:cubicBezTo>
                    <a:pt x="24169" y="175127"/>
                    <a:pt x="14474" y="163179"/>
                    <a:pt x="1298" y="156599"/>
                  </a:cubicBezTo>
                  <a:close/>
                </a:path>
              </a:pathLst>
            </a:custGeom>
            <a:solidFill>
              <a:srgbClr val="FFD700"/>
            </a:solidFill>
            <a:ln w="4055"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D314DD0E-8D3C-401E-B096-8365549C3061}"/>
                </a:ext>
              </a:extLst>
            </p:cNvPr>
            <p:cNvSpPr/>
            <p:nvPr/>
          </p:nvSpPr>
          <p:spPr>
            <a:xfrm>
              <a:off x="1464944" y="1452848"/>
              <a:ext cx="60998" cy="77264"/>
            </a:xfrm>
            <a:custGeom>
              <a:avLst/>
              <a:gdLst>
                <a:gd name="connsiteX0" fmla="*/ 49121 w 60998"/>
                <a:gd name="connsiteY0" fmla="*/ 1298 h 77264"/>
                <a:gd name="connsiteX1" fmla="*/ 63516 w 60998"/>
                <a:gd name="connsiteY1" fmla="*/ 1298 h 77264"/>
                <a:gd name="connsiteX2" fmla="*/ 63516 w 60998"/>
                <a:gd name="connsiteY2" fmla="*/ 77546 h 77264"/>
                <a:gd name="connsiteX3" fmla="*/ 6300 w 60998"/>
                <a:gd name="connsiteY3" fmla="*/ 77546 h 77264"/>
                <a:gd name="connsiteX4" fmla="*/ 1298 w 60998"/>
                <a:gd name="connsiteY4" fmla="*/ 40296 h 77264"/>
                <a:gd name="connsiteX5" fmla="*/ 13498 w 60998"/>
                <a:gd name="connsiteY5" fmla="*/ 37572 h 77264"/>
                <a:gd name="connsiteX6" fmla="*/ 49121 w 60998"/>
                <a:gd name="connsiteY6" fmla="*/ 1298 h 7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98" h="77264">
                  <a:moveTo>
                    <a:pt x="49121" y="1298"/>
                  </a:moveTo>
                  <a:lnTo>
                    <a:pt x="63516" y="1298"/>
                  </a:lnTo>
                  <a:lnTo>
                    <a:pt x="63516" y="77546"/>
                  </a:lnTo>
                  <a:lnTo>
                    <a:pt x="6300" y="77546"/>
                  </a:lnTo>
                  <a:cubicBezTo>
                    <a:pt x="6296" y="64964"/>
                    <a:pt x="4617" y="52435"/>
                    <a:pt x="1298" y="40296"/>
                  </a:cubicBezTo>
                  <a:lnTo>
                    <a:pt x="13498" y="37572"/>
                  </a:lnTo>
                  <a:cubicBezTo>
                    <a:pt x="30964" y="32655"/>
                    <a:pt x="44522" y="18854"/>
                    <a:pt x="49121" y="1298"/>
                  </a:cubicBezTo>
                  <a:close/>
                </a:path>
              </a:pathLst>
            </a:custGeom>
            <a:solidFill>
              <a:srgbClr val="FFD700"/>
            </a:solidFill>
            <a:ln w="4055"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09CBEA3-BBB4-425A-B1F4-DACAE6116678}"/>
                </a:ext>
              </a:extLst>
            </p:cNvPr>
            <p:cNvSpPr/>
            <p:nvPr/>
          </p:nvSpPr>
          <p:spPr>
            <a:xfrm>
              <a:off x="1184597" y="1117156"/>
              <a:ext cx="431053" cy="569316"/>
            </a:xfrm>
            <a:custGeom>
              <a:avLst/>
              <a:gdLst>
                <a:gd name="connsiteX0" fmla="*/ 1298 w 431053"/>
                <a:gd name="connsiteY0" fmla="*/ 1298 h 569315"/>
                <a:gd name="connsiteX1" fmla="*/ 1298 w 431053"/>
                <a:gd name="connsiteY1" fmla="*/ 477368 h 569315"/>
                <a:gd name="connsiteX2" fmla="*/ 216825 w 431053"/>
                <a:gd name="connsiteY2" fmla="*/ 571549 h 569315"/>
                <a:gd name="connsiteX3" fmla="*/ 432352 w 431053"/>
                <a:gd name="connsiteY3" fmla="*/ 477368 h 569315"/>
                <a:gd name="connsiteX4" fmla="*/ 432352 w 431053"/>
                <a:gd name="connsiteY4" fmla="*/ 1298 h 569315"/>
                <a:gd name="connsiteX5" fmla="*/ 369483 w 431053"/>
                <a:gd name="connsiteY5" fmla="*/ 438655 h 569315"/>
                <a:gd name="connsiteX6" fmla="*/ 284329 w 431053"/>
                <a:gd name="connsiteY6" fmla="*/ 438655 h 569315"/>
                <a:gd name="connsiteX7" fmla="*/ 232278 w 431053"/>
                <a:gd name="connsiteY7" fmla="*/ 523849 h 569315"/>
                <a:gd name="connsiteX8" fmla="*/ 216784 w 431053"/>
                <a:gd name="connsiteY8" fmla="*/ 540766 h 569315"/>
                <a:gd name="connsiteX9" fmla="*/ 201331 w 431053"/>
                <a:gd name="connsiteY9" fmla="*/ 523849 h 569315"/>
                <a:gd name="connsiteX10" fmla="*/ 149280 w 431053"/>
                <a:gd name="connsiteY10" fmla="*/ 438655 h 569315"/>
                <a:gd name="connsiteX11" fmla="*/ 64492 w 431053"/>
                <a:gd name="connsiteY11" fmla="*/ 438655 h 569315"/>
                <a:gd name="connsiteX12" fmla="*/ 64492 w 431053"/>
                <a:gd name="connsiteY12" fmla="*/ 70267 h 569315"/>
                <a:gd name="connsiteX13" fmla="*/ 83524 w 431053"/>
                <a:gd name="connsiteY13" fmla="*/ 82466 h 569315"/>
                <a:gd name="connsiteX14" fmla="*/ 146514 w 431053"/>
                <a:gd name="connsiteY14" fmla="*/ 195476 h 569315"/>
                <a:gd name="connsiteX15" fmla="*/ 158714 w 431053"/>
                <a:gd name="connsiteY15" fmla="*/ 299132 h 569315"/>
                <a:gd name="connsiteX16" fmla="*/ 153224 w 431053"/>
                <a:gd name="connsiteY16" fmla="*/ 298562 h 569315"/>
                <a:gd name="connsiteX17" fmla="*/ 125429 w 431053"/>
                <a:gd name="connsiteY17" fmla="*/ 321396 h 569315"/>
                <a:gd name="connsiteX18" fmla="*/ 148263 w 431053"/>
                <a:gd name="connsiteY18" fmla="*/ 349191 h 569315"/>
                <a:gd name="connsiteX19" fmla="*/ 163594 w 431053"/>
                <a:gd name="connsiteY19" fmla="*/ 352322 h 569315"/>
                <a:gd name="connsiteX20" fmla="*/ 178762 w 431053"/>
                <a:gd name="connsiteY20" fmla="*/ 322718 h 569315"/>
                <a:gd name="connsiteX21" fmla="*/ 204056 w 431053"/>
                <a:gd name="connsiteY21" fmla="*/ 209912 h 569315"/>
                <a:gd name="connsiteX22" fmla="*/ 197712 w 431053"/>
                <a:gd name="connsiteY22" fmla="*/ 82792 h 569315"/>
                <a:gd name="connsiteX23" fmla="*/ 216784 w 431053"/>
                <a:gd name="connsiteY23" fmla="*/ 32448 h 569315"/>
                <a:gd name="connsiteX24" fmla="*/ 235816 w 431053"/>
                <a:gd name="connsiteY24" fmla="*/ 82792 h 569315"/>
                <a:gd name="connsiteX25" fmla="*/ 229472 w 431053"/>
                <a:gd name="connsiteY25" fmla="*/ 209912 h 569315"/>
                <a:gd name="connsiteX26" fmla="*/ 254847 w 431053"/>
                <a:gd name="connsiteY26" fmla="*/ 322718 h 569315"/>
                <a:gd name="connsiteX27" fmla="*/ 270015 w 431053"/>
                <a:gd name="connsiteY27" fmla="*/ 352322 h 569315"/>
                <a:gd name="connsiteX28" fmla="*/ 285346 w 431053"/>
                <a:gd name="connsiteY28" fmla="*/ 349191 h 569315"/>
                <a:gd name="connsiteX29" fmla="*/ 305081 w 431053"/>
                <a:gd name="connsiteY29" fmla="*/ 319151 h 569315"/>
                <a:gd name="connsiteX30" fmla="*/ 280426 w 431053"/>
                <a:gd name="connsiteY30" fmla="*/ 298888 h 569315"/>
                <a:gd name="connsiteX31" fmla="*/ 274854 w 431053"/>
                <a:gd name="connsiteY31" fmla="*/ 299457 h 569315"/>
                <a:gd name="connsiteX32" fmla="*/ 287298 w 431053"/>
                <a:gd name="connsiteY32" fmla="*/ 195801 h 569315"/>
                <a:gd name="connsiteX33" fmla="*/ 350207 w 431053"/>
                <a:gd name="connsiteY33" fmla="*/ 82792 h 569315"/>
                <a:gd name="connsiteX34" fmla="*/ 369279 w 431053"/>
                <a:gd name="connsiteY34" fmla="*/ 70592 h 56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1053" h="569315">
                  <a:moveTo>
                    <a:pt x="1298" y="1298"/>
                  </a:moveTo>
                  <a:lnTo>
                    <a:pt x="1298" y="477368"/>
                  </a:lnTo>
                  <a:lnTo>
                    <a:pt x="216825" y="571549"/>
                  </a:lnTo>
                  <a:lnTo>
                    <a:pt x="432352" y="477368"/>
                  </a:lnTo>
                  <a:lnTo>
                    <a:pt x="432352" y="1298"/>
                  </a:lnTo>
                  <a:close/>
                  <a:moveTo>
                    <a:pt x="369483" y="438655"/>
                  </a:moveTo>
                  <a:lnTo>
                    <a:pt x="284329" y="438655"/>
                  </a:lnTo>
                  <a:cubicBezTo>
                    <a:pt x="278063" y="472492"/>
                    <a:pt x="259528" y="502829"/>
                    <a:pt x="232278" y="523849"/>
                  </a:cubicBezTo>
                  <a:cubicBezTo>
                    <a:pt x="225918" y="528261"/>
                    <a:pt x="220623" y="534039"/>
                    <a:pt x="216784" y="540766"/>
                  </a:cubicBezTo>
                  <a:cubicBezTo>
                    <a:pt x="212974" y="534035"/>
                    <a:pt x="207691" y="528253"/>
                    <a:pt x="201331" y="523849"/>
                  </a:cubicBezTo>
                  <a:cubicBezTo>
                    <a:pt x="174065" y="502841"/>
                    <a:pt x="155530" y="472501"/>
                    <a:pt x="149280" y="438655"/>
                  </a:cubicBezTo>
                  <a:lnTo>
                    <a:pt x="64492" y="438655"/>
                  </a:lnTo>
                  <a:lnTo>
                    <a:pt x="64492" y="70267"/>
                  </a:lnTo>
                  <a:cubicBezTo>
                    <a:pt x="71105" y="73894"/>
                    <a:pt x="77465" y="77973"/>
                    <a:pt x="83524" y="82466"/>
                  </a:cubicBezTo>
                  <a:cubicBezTo>
                    <a:pt x="119631" y="109468"/>
                    <a:pt x="142537" y="150565"/>
                    <a:pt x="146514" y="195476"/>
                  </a:cubicBezTo>
                  <a:lnTo>
                    <a:pt x="158714" y="299132"/>
                  </a:lnTo>
                  <a:lnTo>
                    <a:pt x="153224" y="298562"/>
                  </a:lnTo>
                  <a:cubicBezTo>
                    <a:pt x="139243" y="297192"/>
                    <a:pt x="126800" y="307415"/>
                    <a:pt x="125429" y="321396"/>
                  </a:cubicBezTo>
                  <a:cubicBezTo>
                    <a:pt x="124059" y="335377"/>
                    <a:pt x="134282" y="347820"/>
                    <a:pt x="148263" y="349191"/>
                  </a:cubicBezTo>
                  <a:lnTo>
                    <a:pt x="163594" y="352322"/>
                  </a:lnTo>
                  <a:cubicBezTo>
                    <a:pt x="168799" y="342522"/>
                    <a:pt x="173923" y="332681"/>
                    <a:pt x="178762" y="322718"/>
                  </a:cubicBezTo>
                  <a:cubicBezTo>
                    <a:pt x="193198" y="286485"/>
                    <a:pt x="205032" y="249520"/>
                    <a:pt x="204056" y="209912"/>
                  </a:cubicBezTo>
                  <a:cubicBezTo>
                    <a:pt x="203609" y="167538"/>
                    <a:pt x="198403" y="125206"/>
                    <a:pt x="197712" y="82792"/>
                  </a:cubicBezTo>
                  <a:cubicBezTo>
                    <a:pt x="197704" y="64244"/>
                    <a:pt x="204487" y="46334"/>
                    <a:pt x="216784" y="32448"/>
                  </a:cubicBezTo>
                  <a:cubicBezTo>
                    <a:pt x="229086" y="46328"/>
                    <a:pt x="235860" y="64244"/>
                    <a:pt x="235816" y="82792"/>
                  </a:cubicBezTo>
                  <a:cubicBezTo>
                    <a:pt x="235124" y="125206"/>
                    <a:pt x="230000" y="167538"/>
                    <a:pt x="229472" y="209912"/>
                  </a:cubicBezTo>
                  <a:cubicBezTo>
                    <a:pt x="228577" y="249357"/>
                    <a:pt x="240411" y="286485"/>
                    <a:pt x="254847" y="322718"/>
                  </a:cubicBezTo>
                  <a:cubicBezTo>
                    <a:pt x="259605" y="332681"/>
                    <a:pt x="264810" y="342522"/>
                    <a:pt x="270015" y="352322"/>
                  </a:cubicBezTo>
                  <a:lnTo>
                    <a:pt x="285346" y="349191"/>
                  </a:lnTo>
                  <a:cubicBezTo>
                    <a:pt x="299091" y="346344"/>
                    <a:pt x="307928" y="332896"/>
                    <a:pt x="305081" y="319151"/>
                  </a:cubicBezTo>
                  <a:cubicBezTo>
                    <a:pt x="302657" y="307436"/>
                    <a:pt x="292389" y="298998"/>
                    <a:pt x="280426" y="298888"/>
                  </a:cubicBezTo>
                  <a:lnTo>
                    <a:pt x="274854" y="299457"/>
                  </a:lnTo>
                  <a:lnTo>
                    <a:pt x="287298" y="195801"/>
                  </a:lnTo>
                  <a:cubicBezTo>
                    <a:pt x="291259" y="150902"/>
                    <a:pt x="314133" y="109810"/>
                    <a:pt x="350207" y="82792"/>
                  </a:cubicBezTo>
                  <a:cubicBezTo>
                    <a:pt x="356287" y="78306"/>
                    <a:pt x="362659" y="74232"/>
                    <a:pt x="369279" y="70592"/>
                  </a:cubicBezTo>
                  <a:close/>
                </a:path>
              </a:pathLst>
            </a:custGeom>
            <a:solidFill>
              <a:srgbClr val="FFD700"/>
            </a:solidFill>
            <a:ln w="4055"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C91CE401-3C5A-447C-9F73-0E55536AD261}"/>
                </a:ext>
              </a:extLst>
            </p:cNvPr>
            <p:cNvSpPr/>
            <p:nvPr/>
          </p:nvSpPr>
          <p:spPr>
            <a:xfrm>
              <a:off x="2011324" y="964864"/>
              <a:ext cx="20333" cy="813308"/>
            </a:xfrm>
            <a:custGeom>
              <a:avLst/>
              <a:gdLst>
                <a:gd name="connsiteX0" fmla="*/ 1298 w 20332"/>
                <a:gd name="connsiteY0" fmla="*/ 1298 h 813308"/>
                <a:gd name="connsiteX1" fmla="*/ 19069 w 20332"/>
                <a:gd name="connsiteY1" fmla="*/ 1298 h 813308"/>
                <a:gd name="connsiteX2" fmla="*/ 19069 w 20332"/>
                <a:gd name="connsiteY2" fmla="*/ 814606 h 813308"/>
                <a:gd name="connsiteX3" fmla="*/ 1298 w 20332"/>
                <a:gd name="connsiteY3" fmla="*/ 814606 h 813308"/>
              </a:gdLst>
              <a:ahLst/>
              <a:cxnLst>
                <a:cxn ang="0">
                  <a:pos x="connsiteX0" y="connsiteY0"/>
                </a:cxn>
                <a:cxn ang="0">
                  <a:pos x="connsiteX1" y="connsiteY1"/>
                </a:cxn>
                <a:cxn ang="0">
                  <a:pos x="connsiteX2" y="connsiteY2"/>
                </a:cxn>
                <a:cxn ang="0">
                  <a:pos x="connsiteX3" y="connsiteY3"/>
                </a:cxn>
              </a:cxnLst>
              <a:rect l="l" t="t" r="r" b="b"/>
              <a:pathLst>
                <a:path w="20332" h="813308">
                  <a:moveTo>
                    <a:pt x="1298" y="1298"/>
                  </a:moveTo>
                  <a:lnTo>
                    <a:pt x="19069" y="1298"/>
                  </a:lnTo>
                  <a:lnTo>
                    <a:pt x="19069" y="814606"/>
                  </a:lnTo>
                  <a:lnTo>
                    <a:pt x="1298" y="814606"/>
                  </a:lnTo>
                  <a:close/>
                </a:path>
              </a:pathLst>
            </a:custGeom>
            <a:solidFill>
              <a:srgbClr val="FFFFFF"/>
            </a:solidFill>
            <a:ln w="4055"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35F2EB89-6DED-48A4-9B8C-56FC7076E57B}"/>
                </a:ext>
              </a:extLst>
            </p:cNvPr>
            <p:cNvSpPr/>
            <p:nvPr/>
          </p:nvSpPr>
          <p:spPr>
            <a:xfrm>
              <a:off x="2232747" y="1016509"/>
              <a:ext cx="170795" cy="166728"/>
            </a:xfrm>
            <a:custGeom>
              <a:avLst/>
              <a:gdLst>
                <a:gd name="connsiteX0" fmla="*/ 170385 w 170794"/>
                <a:gd name="connsiteY0" fmla="*/ 167335 h 166728"/>
                <a:gd name="connsiteX1" fmla="*/ 156396 w 170794"/>
                <a:gd name="connsiteY1" fmla="*/ 167335 h 166728"/>
                <a:gd name="connsiteX2" fmla="*/ 156396 w 170794"/>
                <a:gd name="connsiteY2" fmla="*/ 15694 h 166728"/>
                <a:gd name="connsiteX3" fmla="*/ 92592 w 170794"/>
                <a:gd name="connsiteY3" fmla="*/ 167335 h 166728"/>
                <a:gd name="connsiteX4" fmla="*/ 78644 w 170794"/>
                <a:gd name="connsiteY4" fmla="*/ 167335 h 166728"/>
                <a:gd name="connsiteX5" fmla="*/ 15247 w 170794"/>
                <a:gd name="connsiteY5" fmla="*/ 16873 h 166728"/>
                <a:gd name="connsiteX6" fmla="*/ 15247 w 170794"/>
                <a:gd name="connsiteY6" fmla="*/ 167335 h 166728"/>
                <a:gd name="connsiteX7" fmla="*/ 1298 w 170794"/>
                <a:gd name="connsiteY7" fmla="*/ 167335 h 166728"/>
                <a:gd name="connsiteX8" fmla="*/ 1298 w 170794"/>
                <a:gd name="connsiteY8" fmla="*/ 1298 h 166728"/>
                <a:gd name="connsiteX9" fmla="*/ 23990 w 170794"/>
                <a:gd name="connsiteY9" fmla="*/ 1298 h 166728"/>
                <a:gd name="connsiteX10" fmla="*/ 86045 w 170794"/>
                <a:gd name="connsiteY10" fmla="*/ 148100 h 166728"/>
                <a:gd name="connsiteX11" fmla="*/ 147653 w 170794"/>
                <a:gd name="connsiteY11" fmla="*/ 1298 h 166728"/>
                <a:gd name="connsiteX12" fmla="*/ 170385 w 170794"/>
                <a:gd name="connsiteY12" fmla="*/ 1298 h 16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794" h="166728">
                  <a:moveTo>
                    <a:pt x="170385" y="167335"/>
                  </a:moveTo>
                  <a:lnTo>
                    <a:pt x="156396" y="167335"/>
                  </a:lnTo>
                  <a:lnTo>
                    <a:pt x="156396" y="15694"/>
                  </a:lnTo>
                  <a:lnTo>
                    <a:pt x="92592" y="167335"/>
                  </a:lnTo>
                  <a:lnTo>
                    <a:pt x="78644" y="167335"/>
                  </a:lnTo>
                  <a:lnTo>
                    <a:pt x="15247" y="16873"/>
                  </a:lnTo>
                  <a:lnTo>
                    <a:pt x="15247" y="167335"/>
                  </a:lnTo>
                  <a:lnTo>
                    <a:pt x="1298" y="167335"/>
                  </a:lnTo>
                  <a:lnTo>
                    <a:pt x="1298" y="1298"/>
                  </a:lnTo>
                  <a:lnTo>
                    <a:pt x="23990" y="1298"/>
                  </a:lnTo>
                  <a:lnTo>
                    <a:pt x="86045" y="148100"/>
                  </a:lnTo>
                  <a:lnTo>
                    <a:pt x="147653" y="1298"/>
                  </a:lnTo>
                  <a:lnTo>
                    <a:pt x="170385" y="1298"/>
                  </a:lnTo>
                  <a:close/>
                </a:path>
              </a:pathLst>
            </a:custGeom>
            <a:solidFill>
              <a:srgbClr val="FFFFFF"/>
            </a:solidFill>
            <a:ln w="4055"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15F5D1F2-E13F-4683-8D6F-CB5085552AF5}"/>
                </a:ext>
              </a:extLst>
            </p:cNvPr>
            <p:cNvSpPr/>
            <p:nvPr/>
          </p:nvSpPr>
          <p:spPr>
            <a:xfrm>
              <a:off x="2454699" y="1011710"/>
              <a:ext cx="16266" cy="170795"/>
            </a:xfrm>
            <a:custGeom>
              <a:avLst/>
              <a:gdLst>
                <a:gd name="connsiteX0" fmla="*/ 1298 w 16266"/>
                <a:gd name="connsiteY0" fmla="*/ 1298 h 170794"/>
                <a:gd name="connsiteX1" fmla="*/ 17930 w 16266"/>
                <a:gd name="connsiteY1" fmla="*/ 1298 h 170794"/>
                <a:gd name="connsiteX2" fmla="*/ 17930 w 16266"/>
                <a:gd name="connsiteY2" fmla="*/ 17890 h 170794"/>
                <a:gd name="connsiteX3" fmla="*/ 1298 w 16266"/>
                <a:gd name="connsiteY3" fmla="*/ 17890 h 170794"/>
                <a:gd name="connsiteX4" fmla="*/ 3047 w 16266"/>
                <a:gd name="connsiteY4" fmla="*/ 41028 h 170794"/>
                <a:gd name="connsiteX5" fmla="*/ 17036 w 16266"/>
                <a:gd name="connsiteY5" fmla="*/ 41028 h 170794"/>
                <a:gd name="connsiteX6" fmla="*/ 17036 w 16266"/>
                <a:gd name="connsiteY6" fmla="*/ 172134 h 170794"/>
                <a:gd name="connsiteX7" fmla="*/ 3047 w 16266"/>
                <a:gd name="connsiteY7" fmla="*/ 172134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6" h="170794">
                  <a:moveTo>
                    <a:pt x="1298" y="1298"/>
                  </a:moveTo>
                  <a:lnTo>
                    <a:pt x="17930" y="1298"/>
                  </a:lnTo>
                  <a:lnTo>
                    <a:pt x="17930" y="17890"/>
                  </a:lnTo>
                  <a:lnTo>
                    <a:pt x="1298" y="17890"/>
                  </a:lnTo>
                  <a:close/>
                  <a:moveTo>
                    <a:pt x="3047" y="41028"/>
                  </a:moveTo>
                  <a:lnTo>
                    <a:pt x="17036" y="41028"/>
                  </a:lnTo>
                  <a:lnTo>
                    <a:pt x="17036" y="172134"/>
                  </a:lnTo>
                  <a:lnTo>
                    <a:pt x="3047" y="172134"/>
                  </a:lnTo>
                  <a:close/>
                </a:path>
              </a:pathLst>
            </a:custGeom>
            <a:solidFill>
              <a:srgbClr val="FFFFFF"/>
            </a:solidFill>
            <a:ln w="4055"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EDDE329E-0BD9-42BF-B6B5-A4D606A410C3}"/>
                </a:ext>
              </a:extLst>
            </p:cNvPr>
            <p:cNvSpPr/>
            <p:nvPr/>
          </p:nvSpPr>
          <p:spPr>
            <a:xfrm>
              <a:off x="2520211" y="1051440"/>
              <a:ext cx="109797" cy="130129"/>
            </a:xfrm>
            <a:custGeom>
              <a:avLst/>
              <a:gdLst>
                <a:gd name="connsiteX0" fmla="*/ 110566 w 109796"/>
                <a:gd name="connsiteY0" fmla="*/ 1298 h 130129"/>
                <a:gd name="connsiteX1" fmla="*/ 110566 w 109796"/>
                <a:gd name="connsiteY1" fmla="*/ 132404 h 130129"/>
                <a:gd name="connsiteX2" fmla="*/ 96618 w 109796"/>
                <a:gd name="connsiteY2" fmla="*/ 132404 h 130129"/>
                <a:gd name="connsiteX3" fmla="*/ 96618 w 109796"/>
                <a:gd name="connsiteY3" fmla="*/ 71649 h 130129"/>
                <a:gd name="connsiteX4" fmla="*/ 15287 w 109796"/>
                <a:gd name="connsiteY4" fmla="*/ 71649 h 130129"/>
                <a:gd name="connsiteX5" fmla="*/ 15287 w 109796"/>
                <a:gd name="connsiteY5" fmla="*/ 132404 h 130129"/>
                <a:gd name="connsiteX6" fmla="*/ 1298 w 109796"/>
                <a:gd name="connsiteY6" fmla="*/ 132404 h 130129"/>
                <a:gd name="connsiteX7" fmla="*/ 1298 w 109796"/>
                <a:gd name="connsiteY7" fmla="*/ 1298 h 130129"/>
                <a:gd name="connsiteX8" fmla="*/ 15287 w 109796"/>
                <a:gd name="connsiteY8" fmla="*/ 1298 h 130129"/>
                <a:gd name="connsiteX9" fmla="*/ 15287 w 109796"/>
                <a:gd name="connsiteY9" fmla="*/ 59450 h 130129"/>
                <a:gd name="connsiteX10" fmla="*/ 96618 w 109796"/>
                <a:gd name="connsiteY10" fmla="*/ 59450 h 130129"/>
                <a:gd name="connsiteX11" fmla="*/ 96618 w 1097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796" h="130129">
                  <a:moveTo>
                    <a:pt x="110566" y="1298"/>
                  </a:moveTo>
                  <a:lnTo>
                    <a:pt x="110566" y="132404"/>
                  </a:lnTo>
                  <a:lnTo>
                    <a:pt x="96618" y="132404"/>
                  </a:lnTo>
                  <a:lnTo>
                    <a:pt x="96618" y="71649"/>
                  </a:lnTo>
                  <a:lnTo>
                    <a:pt x="15287" y="71649"/>
                  </a:lnTo>
                  <a:lnTo>
                    <a:pt x="15287" y="132404"/>
                  </a:lnTo>
                  <a:lnTo>
                    <a:pt x="1298" y="132404"/>
                  </a:lnTo>
                  <a:lnTo>
                    <a:pt x="1298" y="1298"/>
                  </a:lnTo>
                  <a:lnTo>
                    <a:pt x="15287" y="1298"/>
                  </a:lnTo>
                  <a:lnTo>
                    <a:pt x="15287" y="59450"/>
                  </a:lnTo>
                  <a:lnTo>
                    <a:pt x="96618" y="59450"/>
                  </a:lnTo>
                  <a:lnTo>
                    <a:pt x="96618" y="1298"/>
                  </a:lnTo>
                  <a:close/>
                </a:path>
              </a:pathLst>
            </a:custGeom>
            <a:solidFill>
              <a:srgbClr val="FFFFFF"/>
            </a:solidFill>
            <a:ln w="4055"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78EEC95-0706-4711-9F7B-6B9E46E82112}"/>
                </a:ext>
              </a:extLst>
            </p:cNvPr>
            <p:cNvSpPr/>
            <p:nvPr/>
          </p:nvSpPr>
          <p:spPr>
            <a:xfrm>
              <a:off x="2677993" y="1011710"/>
              <a:ext cx="16266" cy="170795"/>
            </a:xfrm>
            <a:custGeom>
              <a:avLst/>
              <a:gdLst>
                <a:gd name="connsiteX0" fmla="*/ 1298 w 16266"/>
                <a:gd name="connsiteY0" fmla="*/ 1298 h 170794"/>
                <a:gd name="connsiteX1" fmla="*/ 17930 w 16266"/>
                <a:gd name="connsiteY1" fmla="*/ 1298 h 170794"/>
                <a:gd name="connsiteX2" fmla="*/ 17930 w 16266"/>
                <a:gd name="connsiteY2" fmla="*/ 17890 h 170794"/>
                <a:gd name="connsiteX3" fmla="*/ 1298 w 16266"/>
                <a:gd name="connsiteY3" fmla="*/ 17890 h 170794"/>
                <a:gd name="connsiteX4" fmla="*/ 3047 w 16266"/>
                <a:gd name="connsiteY4" fmla="*/ 41028 h 170794"/>
                <a:gd name="connsiteX5" fmla="*/ 17036 w 16266"/>
                <a:gd name="connsiteY5" fmla="*/ 41028 h 170794"/>
                <a:gd name="connsiteX6" fmla="*/ 17036 w 16266"/>
                <a:gd name="connsiteY6" fmla="*/ 172134 h 170794"/>
                <a:gd name="connsiteX7" fmla="*/ 3047 w 16266"/>
                <a:gd name="connsiteY7" fmla="*/ 172134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6" h="170794">
                  <a:moveTo>
                    <a:pt x="1298" y="1298"/>
                  </a:moveTo>
                  <a:lnTo>
                    <a:pt x="17930" y="1298"/>
                  </a:lnTo>
                  <a:lnTo>
                    <a:pt x="17930" y="17890"/>
                  </a:lnTo>
                  <a:lnTo>
                    <a:pt x="1298" y="17890"/>
                  </a:lnTo>
                  <a:close/>
                  <a:moveTo>
                    <a:pt x="3047" y="41028"/>
                  </a:moveTo>
                  <a:lnTo>
                    <a:pt x="17036" y="41028"/>
                  </a:lnTo>
                  <a:lnTo>
                    <a:pt x="17036" y="172134"/>
                  </a:lnTo>
                  <a:lnTo>
                    <a:pt x="3047" y="172134"/>
                  </a:lnTo>
                  <a:close/>
                </a:path>
              </a:pathLst>
            </a:custGeom>
            <a:solidFill>
              <a:srgbClr val="FFFFFF"/>
            </a:solidFill>
            <a:ln w="4055"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A11CF718-9FFF-4789-AC91-EC963AAA5A66}"/>
                </a:ext>
              </a:extLst>
            </p:cNvPr>
            <p:cNvSpPr/>
            <p:nvPr/>
          </p:nvSpPr>
          <p:spPr>
            <a:xfrm>
              <a:off x="2732647" y="1049285"/>
              <a:ext cx="117930" cy="134196"/>
            </a:xfrm>
            <a:custGeom>
              <a:avLst/>
              <a:gdLst>
                <a:gd name="connsiteX0" fmla="*/ 1298 w 117929"/>
                <a:gd name="connsiteY0" fmla="*/ 69006 h 134195"/>
                <a:gd name="connsiteX1" fmla="*/ 64208 w 117929"/>
                <a:gd name="connsiteY1" fmla="*/ 1298 h 134195"/>
                <a:gd name="connsiteX2" fmla="*/ 120570 w 117929"/>
                <a:gd name="connsiteY2" fmla="*/ 41069 h 134195"/>
                <a:gd name="connsiteX3" fmla="*/ 107476 w 117929"/>
                <a:gd name="connsiteY3" fmla="*/ 45420 h 134195"/>
                <a:gd name="connsiteX4" fmla="*/ 64208 w 117929"/>
                <a:gd name="connsiteY4" fmla="*/ 13539 h 134195"/>
                <a:gd name="connsiteX5" fmla="*/ 15694 w 117929"/>
                <a:gd name="connsiteY5" fmla="*/ 69006 h 134195"/>
                <a:gd name="connsiteX6" fmla="*/ 64208 w 117929"/>
                <a:gd name="connsiteY6" fmla="*/ 124514 h 134195"/>
                <a:gd name="connsiteX7" fmla="*/ 107882 w 117929"/>
                <a:gd name="connsiteY7" fmla="*/ 92592 h 134195"/>
                <a:gd name="connsiteX8" fmla="*/ 120570 w 117929"/>
                <a:gd name="connsiteY8" fmla="*/ 96984 h 134195"/>
                <a:gd name="connsiteX9" fmla="*/ 64208 w 117929"/>
                <a:gd name="connsiteY9" fmla="*/ 136755 h 134195"/>
                <a:gd name="connsiteX10" fmla="*/ 1298 w 117929"/>
                <a:gd name="connsiteY10" fmla="*/ 69006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29" h="134195">
                  <a:moveTo>
                    <a:pt x="1298" y="69006"/>
                  </a:moveTo>
                  <a:cubicBezTo>
                    <a:pt x="1298" y="29683"/>
                    <a:pt x="27487" y="1298"/>
                    <a:pt x="64208" y="1298"/>
                  </a:cubicBezTo>
                  <a:cubicBezTo>
                    <a:pt x="92673" y="1298"/>
                    <a:pt x="113006" y="16588"/>
                    <a:pt x="120570" y="41069"/>
                  </a:cubicBezTo>
                  <a:lnTo>
                    <a:pt x="107476" y="45420"/>
                  </a:lnTo>
                  <a:cubicBezTo>
                    <a:pt x="101864" y="26273"/>
                    <a:pt x="84158" y="13227"/>
                    <a:pt x="64208" y="13539"/>
                  </a:cubicBezTo>
                  <a:cubicBezTo>
                    <a:pt x="35742" y="13539"/>
                    <a:pt x="15694" y="36230"/>
                    <a:pt x="15694" y="69006"/>
                  </a:cubicBezTo>
                  <a:cubicBezTo>
                    <a:pt x="15694" y="101783"/>
                    <a:pt x="35782" y="124514"/>
                    <a:pt x="64208" y="124514"/>
                  </a:cubicBezTo>
                  <a:cubicBezTo>
                    <a:pt x="84227" y="124714"/>
                    <a:pt x="101994" y="111728"/>
                    <a:pt x="107882" y="92592"/>
                  </a:cubicBezTo>
                  <a:lnTo>
                    <a:pt x="120570" y="96984"/>
                  </a:lnTo>
                  <a:cubicBezTo>
                    <a:pt x="113128" y="121383"/>
                    <a:pt x="92104" y="136755"/>
                    <a:pt x="64208" y="136755"/>
                  </a:cubicBezTo>
                  <a:cubicBezTo>
                    <a:pt x="27080" y="136755"/>
                    <a:pt x="1298" y="108777"/>
                    <a:pt x="1298" y="69006"/>
                  </a:cubicBezTo>
                  <a:close/>
                </a:path>
              </a:pathLst>
            </a:custGeom>
            <a:solidFill>
              <a:srgbClr val="FFFFFF"/>
            </a:solidFill>
            <a:ln w="4055"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D246687C-3CDD-4AEB-8A85-5419A6A1C9A7}"/>
                </a:ext>
              </a:extLst>
            </p:cNvPr>
            <p:cNvSpPr/>
            <p:nvPr/>
          </p:nvSpPr>
          <p:spPr>
            <a:xfrm>
              <a:off x="2864322" y="1051440"/>
              <a:ext cx="113863" cy="130129"/>
            </a:xfrm>
            <a:custGeom>
              <a:avLst/>
              <a:gdLst>
                <a:gd name="connsiteX0" fmla="*/ 114429 w 113863"/>
                <a:gd name="connsiteY0" fmla="*/ 13986 h 130129"/>
                <a:gd name="connsiteX1" fmla="*/ 65062 w 113863"/>
                <a:gd name="connsiteY1" fmla="*/ 13986 h 130129"/>
                <a:gd name="connsiteX2" fmla="*/ 65062 w 113863"/>
                <a:gd name="connsiteY2" fmla="*/ 132404 h 130129"/>
                <a:gd name="connsiteX3" fmla="*/ 51073 w 113863"/>
                <a:gd name="connsiteY3" fmla="*/ 132404 h 130129"/>
                <a:gd name="connsiteX4" fmla="*/ 51073 w 113863"/>
                <a:gd name="connsiteY4" fmla="*/ 13986 h 130129"/>
                <a:gd name="connsiteX5" fmla="*/ 1298 w 113863"/>
                <a:gd name="connsiteY5" fmla="*/ 13986 h 130129"/>
                <a:gd name="connsiteX6" fmla="*/ 1298 w 113863"/>
                <a:gd name="connsiteY6" fmla="*/ 1298 h 130129"/>
                <a:gd name="connsiteX7" fmla="*/ 114429 w 113863"/>
                <a:gd name="connsiteY7"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863" h="130129">
                  <a:moveTo>
                    <a:pt x="114429" y="13986"/>
                  </a:moveTo>
                  <a:lnTo>
                    <a:pt x="65062" y="13986"/>
                  </a:lnTo>
                  <a:lnTo>
                    <a:pt x="65062" y="132404"/>
                  </a:lnTo>
                  <a:lnTo>
                    <a:pt x="51073" y="132404"/>
                  </a:lnTo>
                  <a:lnTo>
                    <a:pt x="51073" y="13986"/>
                  </a:lnTo>
                  <a:lnTo>
                    <a:pt x="1298" y="13986"/>
                  </a:lnTo>
                  <a:lnTo>
                    <a:pt x="1298" y="1298"/>
                  </a:lnTo>
                  <a:lnTo>
                    <a:pt x="114429" y="1298"/>
                  </a:lnTo>
                  <a:close/>
                </a:path>
              </a:pathLst>
            </a:custGeom>
            <a:solidFill>
              <a:srgbClr val="FFFFFF"/>
            </a:solidFill>
            <a:ln w="4055"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7F343AEA-5CBD-47E0-B5F4-F81B364C2AC2}"/>
                </a:ext>
              </a:extLst>
            </p:cNvPr>
            <p:cNvSpPr/>
            <p:nvPr/>
          </p:nvSpPr>
          <p:spPr>
            <a:xfrm>
              <a:off x="2989856" y="1049244"/>
              <a:ext cx="121996" cy="134196"/>
            </a:xfrm>
            <a:custGeom>
              <a:avLst/>
              <a:gdLst>
                <a:gd name="connsiteX0" fmla="*/ 67705 w 121996"/>
                <a:gd name="connsiteY0" fmla="*/ 124311 h 134195"/>
                <a:gd name="connsiteX1" fmla="*/ 111420 w 121996"/>
                <a:gd name="connsiteY1" fmla="*/ 103978 h 134195"/>
                <a:gd name="connsiteX2" fmla="*/ 121017 w 121996"/>
                <a:gd name="connsiteY2" fmla="*/ 112722 h 134195"/>
                <a:gd name="connsiteX3" fmla="*/ 67705 w 121996"/>
                <a:gd name="connsiteY3" fmla="*/ 136755 h 134195"/>
                <a:gd name="connsiteX4" fmla="*/ 1298 w 121996"/>
                <a:gd name="connsiteY4" fmla="*/ 69006 h 134195"/>
                <a:gd name="connsiteX5" fmla="*/ 64208 w 121996"/>
                <a:gd name="connsiteY5" fmla="*/ 1298 h 134195"/>
                <a:gd name="connsiteX6" fmla="*/ 124514 w 121996"/>
                <a:gd name="connsiteY6" fmla="*/ 69006 h 134195"/>
                <a:gd name="connsiteX7" fmla="*/ 124514 w 121996"/>
                <a:gd name="connsiteY7" fmla="*/ 74293 h 134195"/>
                <a:gd name="connsiteX8" fmla="*/ 15734 w 121996"/>
                <a:gd name="connsiteY8" fmla="*/ 74293 h 134195"/>
                <a:gd name="connsiteX9" fmla="*/ 67705 w 121996"/>
                <a:gd name="connsiteY9" fmla="*/ 124311 h 134195"/>
                <a:gd name="connsiteX10" fmla="*/ 15978 w 121996"/>
                <a:gd name="connsiteY10" fmla="*/ 62500 h 134195"/>
                <a:gd name="connsiteX11" fmla="*/ 110363 w 121996"/>
                <a:gd name="connsiteY11" fmla="*/ 62500 h 134195"/>
                <a:gd name="connsiteX12" fmla="*/ 64045 w 121996"/>
                <a:gd name="connsiteY12" fmla="*/ 13701 h 134195"/>
                <a:gd name="connsiteX13" fmla="*/ 15978 w 121996"/>
                <a:gd name="connsiteY13" fmla="*/ 62500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6" h="134195">
                  <a:moveTo>
                    <a:pt x="67705" y="124311"/>
                  </a:moveTo>
                  <a:cubicBezTo>
                    <a:pt x="84634" y="124636"/>
                    <a:pt x="100762" y="117135"/>
                    <a:pt x="111420" y="103978"/>
                  </a:cubicBezTo>
                  <a:lnTo>
                    <a:pt x="121017" y="112722"/>
                  </a:lnTo>
                  <a:cubicBezTo>
                    <a:pt x="107545" y="128044"/>
                    <a:pt x="88111" y="136804"/>
                    <a:pt x="67705" y="136755"/>
                  </a:cubicBezTo>
                  <a:cubicBezTo>
                    <a:pt x="25331" y="136755"/>
                    <a:pt x="1298" y="107882"/>
                    <a:pt x="1298" y="69006"/>
                  </a:cubicBezTo>
                  <a:cubicBezTo>
                    <a:pt x="1298" y="29235"/>
                    <a:pt x="28381" y="1298"/>
                    <a:pt x="64208" y="1298"/>
                  </a:cubicBezTo>
                  <a:cubicBezTo>
                    <a:pt x="100806" y="1298"/>
                    <a:pt x="124514" y="27934"/>
                    <a:pt x="124514" y="69006"/>
                  </a:cubicBezTo>
                  <a:lnTo>
                    <a:pt x="124514" y="74293"/>
                  </a:lnTo>
                  <a:lnTo>
                    <a:pt x="15734" y="74293"/>
                  </a:lnTo>
                  <a:cubicBezTo>
                    <a:pt x="17890" y="105320"/>
                    <a:pt x="37125" y="124311"/>
                    <a:pt x="67705" y="124311"/>
                  </a:cubicBezTo>
                  <a:close/>
                  <a:moveTo>
                    <a:pt x="15978" y="62500"/>
                  </a:moveTo>
                  <a:lnTo>
                    <a:pt x="110363" y="62500"/>
                  </a:lnTo>
                  <a:cubicBezTo>
                    <a:pt x="108208" y="32367"/>
                    <a:pt x="90721" y="13701"/>
                    <a:pt x="64045" y="13701"/>
                  </a:cubicBezTo>
                  <a:cubicBezTo>
                    <a:pt x="37368" y="13701"/>
                    <a:pt x="18337" y="32773"/>
                    <a:pt x="15978" y="62500"/>
                  </a:cubicBezTo>
                  <a:close/>
                </a:path>
              </a:pathLst>
            </a:custGeom>
            <a:solidFill>
              <a:srgbClr val="FFFFFF"/>
            </a:solidFill>
            <a:ln w="4055"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B3318F24-D4B9-460F-994A-5BF9ED93D026}"/>
                </a:ext>
              </a:extLst>
            </p:cNvPr>
            <p:cNvSpPr/>
            <p:nvPr/>
          </p:nvSpPr>
          <p:spPr>
            <a:xfrm>
              <a:off x="3145848" y="1049199"/>
              <a:ext cx="121996" cy="178928"/>
            </a:xfrm>
            <a:custGeom>
              <a:avLst/>
              <a:gdLst>
                <a:gd name="connsiteX0" fmla="*/ 121912 w 121996"/>
                <a:gd name="connsiteY0" fmla="*/ 69093 h 178927"/>
                <a:gd name="connsiteX1" fmla="*/ 62052 w 121996"/>
                <a:gd name="connsiteY1" fmla="*/ 136841 h 178927"/>
                <a:gd name="connsiteX2" fmla="*/ 15287 w 121996"/>
                <a:gd name="connsiteY2" fmla="*/ 112808 h 178927"/>
                <a:gd name="connsiteX3" fmla="*/ 15287 w 121996"/>
                <a:gd name="connsiteY3" fmla="*/ 178320 h 178927"/>
                <a:gd name="connsiteX4" fmla="*/ 1298 w 121996"/>
                <a:gd name="connsiteY4" fmla="*/ 178320 h 178927"/>
                <a:gd name="connsiteX5" fmla="*/ 1298 w 121996"/>
                <a:gd name="connsiteY5" fmla="*/ 3459 h 178927"/>
                <a:gd name="connsiteX6" fmla="*/ 13091 w 121996"/>
                <a:gd name="connsiteY6" fmla="*/ 3459 h 178927"/>
                <a:gd name="connsiteX7" fmla="*/ 14840 w 121996"/>
                <a:gd name="connsiteY7" fmla="*/ 27085 h 178927"/>
                <a:gd name="connsiteX8" fmla="*/ 62052 w 121996"/>
                <a:gd name="connsiteY8" fmla="*/ 1303 h 178927"/>
                <a:gd name="connsiteX9" fmla="*/ 121912 w 121996"/>
                <a:gd name="connsiteY9" fmla="*/ 69093 h 178927"/>
                <a:gd name="connsiteX10" fmla="*/ 107476 w 121996"/>
                <a:gd name="connsiteY10" fmla="*/ 69093 h 178927"/>
                <a:gd name="connsiteX11" fmla="*/ 60710 w 121996"/>
                <a:gd name="connsiteY11" fmla="*/ 13625 h 178927"/>
                <a:gd name="connsiteX12" fmla="*/ 13986 w 121996"/>
                <a:gd name="connsiteY12" fmla="*/ 69093 h 178927"/>
                <a:gd name="connsiteX13" fmla="*/ 60710 w 121996"/>
                <a:gd name="connsiteY13" fmla="*/ 124601 h 178927"/>
                <a:gd name="connsiteX14" fmla="*/ 107476 w 121996"/>
                <a:gd name="connsiteY14" fmla="*/ 69093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96" h="178927">
                  <a:moveTo>
                    <a:pt x="121912" y="69093"/>
                  </a:moveTo>
                  <a:cubicBezTo>
                    <a:pt x="121912" y="108863"/>
                    <a:pt x="97513" y="136841"/>
                    <a:pt x="62052" y="136841"/>
                  </a:cubicBezTo>
                  <a:cubicBezTo>
                    <a:pt x="43424" y="137166"/>
                    <a:pt x="25868" y="128147"/>
                    <a:pt x="15287" y="112808"/>
                  </a:cubicBezTo>
                  <a:lnTo>
                    <a:pt x="15287" y="178320"/>
                  </a:lnTo>
                  <a:lnTo>
                    <a:pt x="1298" y="178320"/>
                  </a:lnTo>
                  <a:lnTo>
                    <a:pt x="1298" y="3459"/>
                  </a:lnTo>
                  <a:lnTo>
                    <a:pt x="13091" y="3459"/>
                  </a:lnTo>
                  <a:lnTo>
                    <a:pt x="14840" y="27085"/>
                  </a:lnTo>
                  <a:cubicBezTo>
                    <a:pt x="24982" y="10823"/>
                    <a:pt x="42887" y="1046"/>
                    <a:pt x="62052" y="1303"/>
                  </a:cubicBezTo>
                  <a:cubicBezTo>
                    <a:pt x="97431" y="1385"/>
                    <a:pt x="121912" y="29322"/>
                    <a:pt x="121912" y="69093"/>
                  </a:cubicBezTo>
                  <a:close/>
                  <a:moveTo>
                    <a:pt x="107476" y="69093"/>
                  </a:moveTo>
                  <a:cubicBezTo>
                    <a:pt x="107476" y="35869"/>
                    <a:pt x="88688" y="13625"/>
                    <a:pt x="60710" y="13625"/>
                  </a:cubicBezTo>
                  <a:cubicBezTo>
                    <a:pt x="32733" y="13625"/>
                    <a:pt x="13986" y="35869"/>
                    <a:pt x="13986" y="69093"/>
                  </a:cubicBezTo>
                  <a:cubicBezTo>
                    <a:pt x="13986" y="102316"/>
                    <a:pt x="32326" y="124601"/>
                    <a:pt x="60710" y="124601"/>
                  </a:cubicBezTo>
                  <a:cubicBezTo>
                    <a:pt x="89095" y="124601"/>
                    <a:pt x="107476" y="102316"/>
                    <a:pt x="107476" y="69093"/>
                  </a:cubicBezTo>
                  <a:close/>
                </a:path>
              </a:pathLst>
            </a:custGeom>
            <a:solidFill>
              <a:srgbClr val="FFFFFF"/>
            </a:solidFill>
            <a:ln w="4055"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86C60FC5-6D5A-4C64-8FEB-392EEA02E7EC}"/>
                </a:ext>
              </a:extLst>
            </p:cNvPr>
            <p:cNvSpPr/>
            <p:nvPr/>
          </p:nvSpPr>
          <p:spPr>
            <a:xfrm>
              <a:off x="3289763" y="1049285"/>
              <a:ext cx="117930" cy="134196"/>
            </a:xfrm>
            <a:custGeom>
              <a:avLst/>
              <a:gdLst>
                <a:gd name="connsiteX0" fmla="*/ 1298 w 117929"/>
                <a:gd name="connsiteY0" fmla="*/ 69006 h 134195"/>
                <a:gd name="connsiteX1" fmla="*/ 64208 w 117929"/>
                <a:gd name="connsiteY1" fmla="*/ 1298 h 134195"/>
                <a:gd name="connsiteX2" fmla="*/ 120570 w 117929"/>
                <a:gd name="connsiteY2" fmla="*/ 41069 h 134195"/>
                <a:gd name="connsiteX3" fmla="*/ 107476 w 117929"/>
                <a:gd name="connsiteY3" fmla="*/ 45420 h 134195"/>
                <a:gd name="connsiteX4" fmla="*/ 64208 w 117929"/>
                <a:gd name="connsiteY4" fmla="*/ 13539 h 134195"/>
                <a:gd name="connsiteX5" fmla="*/ 15734 w 117929"/>
                <a:gd name="connsiteY5" fmla="*/ 69006 h 134195"/>
                <a:gd name="connsiteX6" fmla="*/ 64208 w 117929"/>
                <a:gd name="connsiteY6" fmla="*/ 124514 h 134195"/>
                <a:gd name="connsiteX7" fmla="*/ 107923 w 117929"/>
                <a:gd name="connsiteY7" fmla="*/ 92592 h 134195"/>
                <a:gd name="connsiteX8" fmla="*/ 120570 w 117929"/>
                <a:gd name="connsiteY8" fmla="*/ 96984 h 134195"/>
                <a:gd name="connsiteX9" fmla="*/ 64208 w 117929"/>
                <a:gd name="connsiteY9" fmla="*/ 136755 h 134195"/>
                <a:gd name="connsiteX10" fmla="*/ 1298 w 117929"/>
                <a:gd name="connsiteY10" fmla="*/ 69006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29" h="134195">
                  <a:moveTo>
                    <a:pt x="1298" y="69006"/>
                  </a:moveTo>
                  <a:cubicBezTo>
                    <a:pt x="1298" y="29683"/>
                    <a:pt x="27528" y="1298"/>
                    <a:pt x="64208" y="1298"/>
                  </a:cubicBezTo>
                  <a:cubicBezTo>
                    <a:pt x="92673" y="1298"/>
                    <a:pt x="113006" y="16588"/>
                    <a:pt x="120570" y="41069"/>
                  </a:cubicBezTo>
                  <a:lnTo>
                    <a:pt x="107476" y="45420"/>
                  </a:lnTo>
                  <a:cubicBezTo>
                    <a:pt x="101888" y="26255"/>
                    <a:pt x="84166" y="13199"/>
                    <a:pt x="64208" y="13539"/>
                  </a:cubicBezTo>
                  <a:cubicBezTo>
                    <a:pt x="35742" y="13539"/>
                    <a:pt x="15734" y="36230"/>
                    <a:pt x="15734" y="69006"/>
                  </a:cubicBezTo>
                  <a:cubicBezTo>
                    <a:pt x="15734" y="101783"/>
                    <a:pt x="35823" y="124514"/>
                    <a:pt x="64208" y="124514"/>
                  </a:cubicBezTo>
                  <a:cubicBezTo>
                    <a:pt x="84235" y="124706"/>
                    <a:pt x="102010" y="111726"/>
                    <a:pt x="107923" y="92592"/>
                  </a:cubicBezTo>
                  <a:lnTo>
                    <a:pt x="120570" y="96984"/>
                  </a:lnTo>
                  <a:cubicBezTo>
                    <a:pt x="113169" y="121383"/>
                    <a:pt x="92104" y="136755"/>
                    <a:pt x="64208" y="136755"/>
                  </a:cubicBezTo>
                  <a:cubicBezTo>
                    <a:pt x="27080" y="136755"/>
                    <a:pt x="1298" y="108777"/>
                    <a:pt x="1298" y="69006"/>
                  </a:cubicBezTo>
                  <a:close/>
                </a:path>
              </a:pathLst>
            </a:custGeom>
            <a:solidFill>
              <a:srgbClr val="FFFFFF"/>
            </a:solidFill>
            <a:ln w="4055"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432D9BE1-3412-41F8-AC39-6E589ADC085D}"/>
                </a:ext>
              </a:extLst>
            </p:cNvPr>
            <p:cNvSpPr/>
            <p:nvPr/>
          </p:nvSpPr>
          <p:spPr>
            <a:xfrm>
              <a:off x="3418672" y="1051440"/>
              <a:ext cx="113863" cy="130129"/>
            </a:xfrm>
            <a:custGeom>
              <a:avLst/>
              <a:gdLst>
                <a:gd name="connsiteX0" fmla="*/ 114470 w 113863"/>
                <a:gd name="connsiteY0" fmla="*/ 13986 h 130129"/>
                <a:gd name="connsiteX1" fmla="*/ 65102 w 113863"/>
                <a:gd name="connsiteY1" fmla="*/ 13986 h 130129"/>
                <a:gd name="connsiteX2" fmla="*/ 65102 w 113863"/>
                <a:gd name="connsiteY2" fmla="*/ 132404 h 130129"/>
                <a:gd name="connsiteX3" fmla="*/ 51113 w 113863"/>
                <a:gd name="connsiteY3" fmla="*/ 132404 h 130129"/>
                <a:gd name="connsiteX4" fmla="*/ 51113 w 113863"/>
                <a:gd name="connsiteY4" fmla="*/ 13986 h 130129"/>
                <a:gd name="connsiteX5" fmla="*/ 1298 w 113863"/>
                <a:gd name="connsiteY5" fmla="*/ 13986 h 130129"/>
                <a:gd name="connsiteX6" fmla="*/ 1298 w 113863"/>
                <a:gd name="connsiteY6" fmla="*/ 1298 h 130129"/>
                <a:gd name="connsiteX7" fmla="*/ 114470 w 113863"/>
                <a:gd name="connsiteY7"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863" h="130129">
                  <a:moveTo>
                    <a:pt x="114470" y="13986"/>
                  </a:moveTo>
                  <a:lnTo>
                    <a:pt x="65102" y="13986"/>
                  </a:lnTo>
                  <a:lnTo>
                    <a:pt x="65102" y="132404"/>
                  </a:lnTo>
                  <a:lnTo>
                    <a:pt x="51113" y="132404"/>
                  </a:lnTo>
                  <a:lnTo>
                    <a:pt x="51113" y="13986"/>
                  </a:lnTo>
                  <a:lnTo>
                    <a:pt x="1298" y="13986"/>
                  </a:lnTo>
                  <a:lnTo>
                    <a:pt x="1298" y="1298"/>
                  </a:lnTo>
                  <a:lnTo>
                    <a:pt x="114470" y="1298"/>
                  </a:lnTo>
                  <a:close/>
                </a:path>
              </a:pathLst>
            </a:custGeom>
            <a:solidFill>
              <a:srgbClr val="FFFFFF"/>
            </a:solidFill>
            <a:ln w="4055" cap="flat">
              <a:noFill/>
              <a:prstDash val="solid"/>
              <a:miter/>
            </a:ln>
          </p:spPr>
          <p:txBody>
            <a:bodyPr rtlCol="0" anchor="ctr"/>
            <a:lstStyle/>
            <a:p>
              <a:endParaRPr lang="uk-UA"/>
            </a:p>
          </p:txBody>
        </p:sp>
        <p:sp>
          <p:nvSpPr>
            <p:cNvPr id="46" name="Freeform: Shape 45">
              <a:extLst>
                <a:ext uri="{FF2B5EF4-FFF2-40B4-BE49-F238E27FC236}">
                  <a16:creationId xmlns:a16="http://schemas.microsoft.com/office/drawing/2014/main" id="{B644AE66-6B6A-416A-ADB1-ACAA1C69C3E5}"/>
                </a:ext>
              </a:extLst>
            </p:cNvPr>
            <p:cNvSpPr/>
            <p:nvPr/>
          </p:nvSpPr>
          <p:spPr>
            <a:xfrm>
              <a:off x="3558073" y="1051440"/>
              <a:ext cx="101663" cy="130129"/>
            </a:xfrm>
            <a:custGeom>
              <a:avLst/>
              <a:gdLst>
                <a:gd name="connsiteX0" fmla="*/ 103084 w 101663"/>
                <a:gd name="connsiteY0" fmla="*/ 96130 h 130129"/>
                <a:gd name="connsiteX1" fmla="*/ 57213 w 101663"/>
                <a:gd name="connsiteY1" fmla="*/ 132404 h 130129"/>
                <a:gd name="connsiteX2" fmla="*/ 1298 w 101663"/>
                <a:gd name="connsiteY2" fmla="*/ 132404 h 130129"/>
                <a:gd name="connsiteX3" fmla="*/ 1298 w 101663"/>
                <a:gd name="connsiteY3" fmla="*/ 1298 h 130129"/>
                <a:gd name="connsiteX4" fmla="*/ 54611 w 101663"/>
                <a:gd name="connsiteY4" fmla="*/ 1298 h 130129"/>
                <a:gd name="connsiteX5" fmla="*/ 98407 w 101663"/>
                <a:gd name="connsiteY5" fmla="*/ 36718 h 130129"/>
                <a:gd name="connsiteX6" fmla="*/ 79620 w 101663"/>
                <a:gd name="connsiteY6" fmla="*/ 63801 h 130129"/>
                <a:gd name="connsiteX7" fmla="*/ 103084 w 101663"/>
                <a:gd name="connsiteY7" fmla="*/ 96130 h 130129"/>
                <a:gd name="connsiteX8" fmla="*/ 14840 w 101663"/>
                <a:gd name="connsiteY8" fmla="*/ 59531 h 130129"/>
                <a:gd name="connsiteX9" fmla="*/ 59857 w 101663"/>
                <a:gd name="connsiteY9" fmla="*/ 59531 h 130129"/>
                <a:gd name="connsiteX10" fmla="*/ 85191 w 101663"/>
                <a:gd name="connsiteY10" fmla="*/ 36799 h 130129"/>
                <a:gd name="connsiteX11" fmla="*/ 58108 w 101663"/>
                <a:gd name="connsiteY11" fmla="*/ 13213 h 130129"/>
                <a:gd name="connsiteX12" fmla="*/ 14840 w 101663"/>
                <a:gd name="connsiteY12" fmla="*/ 13213 h 130129"/>
                <a:gd name="connsiteX13" fmla="*/ 89135 w 101663"/>
                <a:gd name="connsiteY13" fmla="*/ 95764 h 130129"/>
                <a:gd name="connsiteX14" fmla="*/ 62012 w 101663"/>
                <a:gd name="connsiteY14" fmla="*/ 70877 h 130129"/>
                <a:gd name="connsiteX15" fmla="*/ 14840 w 101663"/>
                <a:gd name="connsiteY15" fmla="*/ 70877 h 130129"/>
                <a:gd name="connsiteX16" fmla="*/ 14840 w 101663"/>
                <a:gd name="connsiteY16" fmla="*/ 120692 h 130129"/>
                <a:gd name="connsiteX17" fmla="*/ 58555 w 101663"/>
                <a:gd name="connsiteY17" fmla="*/ 120692 h 130129"/>
                <a:gd name="connsiteX18" fmla="*/ 89135 w 101663"/>
                <a:gd name="connsiteY18" fmla="*/ 95683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663" h="130129">
                  <a:moveTo>
                    <a:pt x="103084" y="96130"/>
                  </a:moveTo>
                  <a:cubicBezTo>
                    <a:pt x="103084" y="118415"/>
                    <a:pt x="85638" y="132404"/>
                    <a:pt x="57213" y="132404"/>
                  </a:cubicBezTo>
                  <a:lnTo>
                    <a:pt x="1298" y="132404"/>
                  </a:lnTo>
                  <a:lnTo>
                    <a:pt x="1298" y="1298"/>
                  </a:lnTo>
                  <a:lnTo>
                    <a:pt x="54611" y="1298"/>
                  </a:lnTo>
                  <a:cubicBezTo>
                    <a:pt x="82548" y="1298"/>
                    <a:pt x="98407" y="13986"/>
                    <a:pt x="98407" y="36718"/>
                  </a:cubicBezTo>
                  <a:cubicBezTo>
                    <a:pt x="98627" y="48849"/>
                    <a:pt x="91059" y="59759"/>
                    <a:pt x="79620" y="63801"/>
                  </a:cubicBezTo>
                  <a:cubicBezTo>
                    <a:pt x="95683" y="69250"/>
                    <a:pt x="103084" y="79539"/>
                    <a:pt x="103084" y="96130"/>
                  </a:cubicBezTo>
                  <a:close/>
                  <a:moveTo>
                    <a:pt x="14840" y="59531"/>
                  </a:moveTo>
                  <a:lnTo>
                    <a:pt x="59857" y="59531"/>
                  </a:lnTo>
                  <a:cubicBezTo>
                    <a:pt x="75594" y="59531"/>
                    <a:pt x="85191" y="50788"/>
                    <a:pt x="85191" y="36799"/>
                  </a:cubicBezTo>
                  <a:cubicBezTo>
                    <a:pt x="85191" y="22810"/>
                    <a:pt x="74252" y="13213"/>
                    <a:pt x="58108" y="13213"/>
                  </a:cubicBezTo>
                  <a:lnTo>
                    <a:pt x="14840" y="13213"/>
                  </a:lnTo>
                  <a:close/>
                  <a:moveTo>
                    <a:pt x="89135" y="95764"/>
                  </a:moveTo>
                  <a:cubicBezTo>
                    <a:pt x="89135" y="80921"/>
                    <a:pt x="78197" y="70877"/>
                    <a:pt x="62012" y="70877"/>
                  </a:cubicBezTo>
                  <a:lnTo>
                    <a:pt x="14840" y="70877"/>
                  </a:lnTo>
                  <a:lnTo>
                    <a:pt x="14840" y="120692"/>
                  </a:lnTo>
                  <a:lnTo>
                    <a:pt x="58555" y="120692"/>
                  </a:lnTo>
                  <a:cubicBezTo>
                    <a:pt x="78075" y="120611"/>
                    <a:pt x="89135" y="111420"/>
                    <a:pt x="89135" y="95683"/>
                  </a:cubicBezTo>
                  <a:close/>
                </a:path>
              </a:pathLst>
            </a:custGeom>
            <a:solidFill>
              <a:srgbClr val="FFFFFF"/>
            </a:solidFill>
            <a:ln w="4055" cap="flat">
              <a:noFill/>
              <a:prstDash val="solid"/>
              <a:miter/>
            </a:ln>
          </p:spPr>
          <p:txBody>
            <a:bodyPr rtlCol="0" anchor="ctr"/>
            <a:lstStyle/>
            <a:p>
              <a:endParaRPr lang="uk-UA"/>
            </a:p>
          </p:txBody>
        </p:sp>
        <p:sp>
          <p:nvSpPr>
            <p:cNvPr id="47" name="Freeform: Shape 46">
              <a:extLst>
                <a:ext uri="{FF2B5EF4-FFF2-40B4-BE49-F238E27FC236}">
                  <a16:creationId xmlns:a16="http://schemas.microsoft.com/office/drawing/2014/main" id="{FD8A2A21-DD71-47CB-B6E8-23FC379A96CC}"/>
                </a:ext>
              </a:extLst>
            </p:cNvPr>
            <p:cNvSpPr/>
            <p:nvPr/>
          </p:nvSpPr>
          <p:spPr>
            <a:xfrm>
              <a:off x="3685234" y="1049285"/>
              <a:ext cx="126063" cy="134196"/>
            </a:xfrm>
            <a:custGeom>
              <a:avLst/>
              <a:gdLst>
                <a:gd name="connsiteX0" fmla="*/ 1298 w 126062"/>
                <a:gd name="connsiteY0" fmla="*/ 69006 h 134195"/>
                <a:gd name="connsiteX1" fmla="*/ 64655 w 126062"/>
                <a:gd name="connsiteY1" fmla="*/ 1298 h 134195"/>
                <a:gd name="connsiteX2" fmla="*/ 128012 w 126062"/>
                <a:gd name="connsiteY2" fmla="*/ 69006 h 134195"/>
                <a:gd name="connsiteX3" fmla="*/ 64655 w 126062"/>
                <a:gd name="connsiteY3" fmla="*/ 136755 h 134195"/>
                <a:gd name="connsiteX4" fmla="*/ 1298 w 126062"/>
                <a:gd name="connsiteY4" fmla="*/ 69006 h 134195"/>
                <a:gd name="connsiteX5" fmla="*/ 113575 w 126062"/>
                <a:gd name="connsiteY5" fmla="*/ 69006 h 134195"/>
                <a:gd name="connsiteX6" fmla="*/ 64777 w 126062"/>
                <a:gd name="connsiteY6" fmla="*/ 13539 h 134195"/>
                <a:gd name="connsiteX7" fmla="*/ 15978 w 126062"/>
                <a:gd name="connsiteY7" fmla="*/ 69006 h 134195"/>
                <a:gd name="connsiteX8" fmla="*/ 64777 w 126062"/>
                <a:gd name="connsiteY8" fmla="*/ 124514 h 134195"/>
                <a:gd name="connsiteX9" fmla="*/ 113575 w 126062"/>
                <a:gd name="connsiteY9" fmla="*/ 69006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062" h="134195">
                  <a:moveTo>
                    <a:pt x="1298" y="69006"/>
                  </a:moveTo>
                  <a:cubicBezTo>
                    <a:pt x="1298" y="29235"/>
                    <a:pt x="27080" y="1298"/>
                    <a:pt x="64655" y="1298"/>
                  </a:cubicBezTo>
                  <a:cubicBezTo>
                    <a:pt x="102230" y="1298"/>
                    <a:pt x="128012" y="28381"/>
                    <a:pt x="128012" y="69006"/>
                  </a:cubicBezTo>
                  <a:cubicBezTo>
                    <a:pt x="128012" y="108777"/>
                    <a:pt x="102230" y="136755"/>
                    <a:pt x="64655" y="136755"/>
                  </a:cubicBezTo>
                  <a:cubicBezTo>
                    <a:pt x="27080" y="136755"/>
                    <a:pt x="1298" y="109631"/>
                    <a:pt x="1298" y="69006"/>
                  </a:cubicBezTo>
                  <a:close/>
                  <a:moveTo>
                    <a:pt x="113575" y="69006"/>
                  </a:moveTo>
                  <a:cubicBezTo>
                    <a:pt x="113575" y="35376"/>
                    <a:pt x="94341" y="13539"/>
                    <a:pt x="64777" y="13539"/>
                  </a:cubicBezTo>
                  <a:cubicBezTo>
                    <a:pt x="35213" y="13539"/>
                    <a:pt x="15978" y="35783"/>
                    <a:pt x="15978" y="69006"/>
                  </a:cubicBezTo>
                  <a:cubicBezTo>
                    <a:pt x="15978" y="102230"/>
                    <a:pt x="35661" y="124514"/>
                    <a:pt x="64777" y="124514"/>
                  </a:cubicBezTo>
                  <a:cubicBezTo>
                    <a:pt x="93893" y="124514"/>
                    <a:pt x="113575" y="102230"/>
                    <a:pt x="113575" y="69006"/>
                  </a:cubicBezTo>
                  <a:close/>
                </a:path>
              </a:pathLst>
            </a:custGeom>
            <a:solidFill>
              <a:srgbClr val="FFFFFF"/>
            </a:solidFill>
            <a:ln w="4055" cap="flat">
              <a:noFill/>
              <a:prstDash val="solid"/>
              <a:miter/>
            </a:ln>
          </p:spPr>
          <p:txBody>
            <a:bodyPr rtlCol="0" anchor="ctr"/>
            <a:lstStyle/>
            <a:p>
              <a:endParaRPr lang="uk-UA"/>
            </a:p>
          </p:txBody>
        </p:sp>
        <p:sp>
          <p:nvSpPr>
            <p:cNvPr id="48" name="Freeform: Shape 47">
              <a:extLst>
                <a:ext uri="{FF2B5EF4-FFF2-40B4-BE49-F238E27FC236}">
                  <a16:creationId xmlns:a16="http://schemas.microsoft.com/office/drawing/2014/main" id="{29283823-5D1A-438E-8A89-5A09718252F3}"/>
                </a:ext>
              </a:extLst>
            </p:cNvPr>
            <p:cNvSpPr/>
            <p:nvPr/>
          </p:nvSpPr>
          <p:spPr>
            <a:xfrm>
              <a:off x="2211723" y="1278272"/>
              <a:ext cx="211460" cy="219593"/>
            </a:xfrm>
            <a:custGeom>
              <a:avLst/>
              <a:gdLst>
                <a:gd name="connsiteX0" fmla="*/ 211457 w 211460"/>
                <a:gd name="connsiteY0" fmla="*/ 110810 h 219593"/>
                <a:gd name="connsiteX1" fmla="*/ 158592 w 211460"/>
                <a:gd name="connsiteY1" fmla="*/ 178071 h 219593"/>
                <a:gd name="connsiteX2" fmla="*/ 124067 w 211460"/>
                <a:gd name="connsiteY2" fmla="*/ 163228 h 219593"/>
                <a:gd name="connsiteX3" fmla="*/ 124067 w 211460"/>
                <a:gd name="connsiteY3" fmla="*/ 220159 h 219593"/>
                <a:gd name="connsiteX4" fmla="*/ 89095 w 211460"/>
                <a:gd name="connsiteY4" fmla="*/ 220159 h 219593"/>
                <a:gd name="connsiteX5" fmla="*/ 89095 w 211460"/>
                <a:gd name="connsiteY5" fmla="*/ 162252 h 219593"/>
                <a:gd name="connsiteX6" fmla="*/ 54163 w 211460"/>
                <a:gd name="connsiteY6" fmla="*/ 177949 h 219593"/>
                <a:gd name="connsiteX7" fmla="*/ 1298 w 211460"/>
                <a:gd name="connsiteY7" fmla="*/ 110688 h 219593"/>
                <a:gd name="connsiteX8" fmla="*/ 54163 w 211460"/>
                <a:gd name="connsiteY8" fmla="*/ 43387 h 219593"/>
                <a:gd name="connsiteX9" fmla="*/ 89095 w 211460"/>
                <a:gd name="connsiteY9" fmla="*/ 58230 h 219593"/>
                <a:gd name="connsiteX10" fmla="*/ 89095 w 211460"/>
                <a:gd name="connsiteY10" fmla="*/ 1298 h 219593"/>
                <a:gd name="connsiteX11" fmla="*/ 124067 w 211460"/>
                <a:gd name="connsiteY11" fmla="*/ 1298 h 219593"/>
                <a:gd name="connsiteX12" fmla="*/ 124067 w 211460"/>
                <a:gd name="connsiteY12" fmla="*/ 58230 h 219593"/>
                <a:gd name="connsiteX13" fmla="*/ 158592 w 211460"/>
                <a:gd name="connsiteY13" fmla="*/ 43387 h 219593"/>
                <a:gd name="connsiteX14" fmla="*/ 211457 w 211460"/>
                <a:gd name="connsiteY14" fmla="*/ 110810 h 219593"/>
                <a:gd name="connsiteX15" fmla="*/ 90599 w 211460"/>
                <a:gd name="connsiteY15" fmla="*/ 110810 h 219593"/>
                <a:gd name="connsiteX16" fmla="*/ 63923 w 211460"/>
                <a:gd name="connsiteY16" fmla="*/ 71893 h 219593"/>
                <a:gd name="connsiteX17" fmla="*/ 36840 w 211460"/>
                <a:gd name="connsiteY17" fmla="*/ 110810 h 219593"/>
                <a:gd name="connsiteX18" fmla="*/ 63923 w 211460"/>
                <a:gd name="connsiteY18" fmla="*/ 149686 h 219593"/>
                <a:gd name="connsiteX19" fmla="*/ 90599 w 211460"/>
                <a:gd name="connsiteY19" fmla="*/ 110810 h 219593"/>
                <a:gd name="connsiteX20" fmla="*/ 175997 w 211460"/>
                <a:gd name="connsiteY20" fmla="*/ 110810 h 219593"/>
                <a:gd name="connsiteX21" fmla="*/ 149361 w 211460"/>
                <a:gd name="connsiteY21" fmla="*/ 71893 h 219593"/>
                <a:gd name="connsiteX22" fmla="*/ 122278 w 211460"/>
                <a:gd name="connsiteY22" fmla="*/ 110810 h 219593"/>
                <a:gd name="connsiteX23" fmla="*/ 149361 w 211460"/>
                <a:gd name="connsiteY23" fmla="*/ 149686 h 219593"/>
                <a:gd name="connsiteX24" fmla="*/ 175997 w 211460"/>
                <a:gd name="connsiteY24" fmla="*/ 110810 h 21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1460" h="219593">
                  <a:moveTo>
                    <a:pt x="211457" y="110810"/>
                  </a:moveTo>
                  <a:cubicBezTo>
                    <a:pt x="211457" y="151476"/>
                    <a:pt x="190474" y="178071"/>
                    <a:pt x="158592" y="178071"/>
                  </a:cubicBezTo>
                  <a:cubicBezTo>
                    <a:pt x="145461" y="178433"/>
                    <a:pt x="132839" y="173004"/>
                    <a:pt x="124067" y="163228"/>
                  </a:cubicBezTo>
                  <a:lnTo>
                    <a:pt x="124067" y="220159"/>
                  </a:lnTo>
                  <a:lnTo>
                    <a:pt x="89095" y="220159"/>
                  </a:lnTo>
                  <a:lnTo>
                    <a:pt x="89095" y="162252"/>
                  </a:lnTo>
                  <a:cubicBezTo>
                    <a:pt x="80506" y="172609"/>
                    <a:pt x="67607" y="178404"/>
                    <a:pt x="54163" y="177949"/>
                  </a:cubicBezTo>
                  <a:cubicBezTo>
                    <a:pt x="21631" y="177949"/>
                    <a:pt x="1298" y="151760"/>
                    <a:pt x="1298" y="110688"/>
                  </a:cubicBezTo>
                  <a:cubicBezTo>
                    <a:pt x="1298" y="69616"/>
                    <a:pt x="22241" y="43387"/>
                    <a:pt x="54163" y="43387"/>
                  </a:cubicBezTo>
                  <a:cubicBezTo>
                    <a:pt x="67453" y="42805"/>
                    <a:pt x="80291" y="48263"/>
                    <a:pt x="89095" y="58230"/>
                  </a:cubicBezTo>
                  <a:lnTo>
                    <a:pt x="89095" y="1298"/>
                  </a:lnTo>
                  <a:lnTo>
                    <a:pt x="124067" y="1298"/>
                  </a:lnTo>
                  <a:lnTo>
                    <a:pt x="124067" y="58230"/>
                  </a:lnTo>
                  <a:cubicBezTo>
                    <a:pt x="132879" y="48511"/>
                    <a:pt x="145477" y="43098"/>
                    <a:pt x="158592" y="43387"/>
                  </a:cubicBezTo>
                  <a:cubicBezTo>
                    <a:pt x="190921" y="43387"/>
                    <a:pt x="211457" y="69616"/>
                    <a:pt x="211457" y="110810"/>
                  </a:cubicBezTo>
                  <a:close/>
                  <a:moveTo>
                    <a:pt x="90599" y="110810"/>
                  </a:moveTo>
                  <a:cubicBezTo>
                    <a:pt x="90599" y="86777"/>
                    <a:pt x="80514" y="71893"/>
                    <a:pt x="63923" y="71893"/>
                  </a:cubicBezTo>
                  <a:cubicBezTo>
                    <a:pt x="47331" y="71893"/>
                    <a:pt x="36840" y="86777"/>
                    <a:pt x="36840" y="110810"/>
                  </a:cubicBezTo>
                  <a:cubicBezTo>
                    <a:pt x="36840" y="134843"/>
                    <a:pt x="47331" y="149686"/>
                    <a:pt x="63923" y="149686"/>
                  </a:cubicBezTo>
                  <a:cubicBezTo>
                    <a:pt x="80514" y="149686"/>
                    <a:pt x="90599" y="134722"/>
                    <a:pt x="90599" y="110810"/>
                  </a:cubicBezTo>
                  <a:close/>
                  <a:moveTo>
                    <a:pt x="175997" y="110810"/>
                  </a:moveTo>
                  <a:cubicBezTo>
                    <a:pt x="175997" y="86777"/>
                    <a:pt x="165952" y="71893"/>
                    <a:pt x="149361" y="71893"/>
                  </a:cubicBezTo>
                  <a:cubicBezTo>
                    <a:pt x="132769" y="71893"/>
                    <a:pt x="122278" y="86777"/>
                    <a:pt x="122278" y="110810"/>
                  </a:cubicBezTo>
                  <a:cubicBezTo>
                    <a:pt x="122278" y="134843"/>
                    <a:pt x="132322" y="149686"/>
                    <a:pt x="149361" y="149686"/>
                  </a:cubicBezTo>
                  <a:cubicBezTo>
                    <a:pt x="166400" y="149686"/>
                    <a:pt x="175997" y="134722"/>
                    <a:pt x="175997" y="110810"/>
                  </a:cubicBezTo>
                  <a:close/>
                </a:path>
              </a:pathLst>
            </a:custGeom>
            <a:solidFill>
              <a:srgbClr val="FFFFFF"/>
            </a:solidFill>
            <a:ln w="4055" cap="flat">
              <a:noFill/>
              <a:prstDash val="solid"/>
              <a:miter/>
            </a:ln>
          </p:spPr>
          <p:txBody>
            <a:bodyPr rtlCol="0" anchor="ctr"/>
            <a:lstStyle/>
            <a:p>
              <a:endParaRPr lang="uk-UA"/>
            </a:p>
          </p:txBody>
        </p:sp>
        <p:sp>
          <p:nvSpPr>
            <p:cNvPr id="49" name="Freeform: Shape 48">
              <a:extLst>
                <a:ext uri="{FF2B5EF4-FFF2-40B4-BE49-F238E27FC236}">
                  <a16:creationId xmlns:a16="http://schemas.microsoft.com/office/drawing/2014/main" id="{536D60F3-EE32-4CCD-84B4-249822D6252D}"/>
                </a:ext>
              </a:extLst>
            </p:cNvPr>
            <p:cNvSpPr/>
            <p:nvPr/>
          </p:nvSpPr>
          <p:spPr>
            <a:xfrm>
              <a:off x="2444655" y="1275791"/>
              <a:ext cx="36599" cy="178928"/>
            </a:xfrm>
            <a:custGeom>
              <a:avLst/>
              <a:gdLst>
                <a:gd name="connsiteX0" fmla="*/ 1298 w 36598"/>
                <a:gd name="connsiteY0" fmla="*/ 1298 h 178927"/>
                <a:gd name="connsiteX1" fmla="*/ 38873 w 36598"/>
                <a:gd name="connsiteY1" fmla="*/ 1298 h 178927"/>
                <a:gd name="connsiteX2" fmla="*/ 38873 w 36598"/>
                <a:gd name="connsiteY2" fmla="*/ 31025 h 178927"/>
                <a:gd name="connsiteX3" fmla="*/ 1298 w 36598"/>
                <a:gd name="connsiteY3" fmla="*/ 31025 h 178927"/>
                <a:gd name="connsiteX4" fmla="*/ 2640 w 36598"/>
                <a:gd name="connsiteY4" fmla="*/ 47616 h 178927"/>
                <a:gd name="connsiteX5" fmla="*/ 37572 w 36598"/>
                <a:gd name="connsiteY5" fmla="*/ 47616 h 178927"/>
                <a:gd name="connsiteX6" fmla="*/ 37572 w 36598"/>
                <a:gd name="connsiteY6" fmla="*/ 178681 h 178927"/>
                <a:gd name="connsiteX7" fmla="*/ 2640 w 36598"/>
                <a:gd name="connsiteY7" fmla="*/ 178681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8" h="178927">
                  <a:moveTo>
                    <a:pt x="1298" y="1298"/>
                  </a:moveTo>
                  <a:lnTo>
                    <a:pt x="38873" y="1298"/>
                  </a:lnTo>
                  <a:lnTo>
                    <a:pt x="38873" y="31025"/>
                  </a:lnTo>
                  <a:lnTo>
                    <a:pt x="1298" y="31025"/>
                  </a:lnTo>
                  <a:close/>
                  <a:moveTo>
                    <a:pt x="2640" y="47616"/>
                  </a:moveTo>
                  <a:lnTo>
                    <a:pt x="37572" y="47616"/>
                  </a:lnTo>
                  <a:lnTo>
                    <a:pt x="37572" y="178681"/>
                  </a:lnTo>
                  <a:lnTo>
                    <a:pt x="2640" y="178681"/>
                  </a:lnTo>
                  <a:close/>
                </a:path>
              </a:pathLst>
            </a:custGeom>
            <a:solidFill>
              <a:srgbClr val="FFFFFF"/>
            </a:solidFill>
            <a:ln w="4055" cap="flat">
              <a:noFill/>
              <a:prstDash val="solid"/>
              <a:miter/>
            </a:ln>
          </p:spPr>
          <p:txBody>
            <a:bodyPr rtlCol="0" anchor="ctr"/>
            <a:lstStyle/>
            <a:p>
              <a:endParaRPr lang="uk-UA"/>
            </a:p>
          </p:txBody>
        </p:sp>
        <p:sp>
          <p:nvSpPr>
            <p:cNvPr id="50" name="Freeform: Shape 49">
              <a:extLst>
                <a:ext uri="{FF2B5EF4-FFF2-40B4-BE49-F238E27FC236}">
                  <a16:creationId xmlns:a16="http://schemas.microsoft.com/office/drawing/2014/main" id="{65D46A41-FFD7-4B4E-A87F-42867E9FDF5B}"/>
                </a:ext>
              </a:extLst>
            </p:cNvPr>
            <p:cNvSpPr/>
            <p:nvPr/>
          </p:nvSpPr>
          <p:spPr>
            <a:xfrm>
              <a:off x="2514152" y="1322109"/>
              <a:ext cx="121996" cy="130129"/>
            </a:xfrm>
            <a:custGeom>
              <a:avLst/>
              <a:gdLst>
                <a:gd name="connsiteX0" fmla="*/ 122766 w 121996"/>
                <a:gd name="connsiteY0" fmla="*/ 1298 h 130129"/>
                <a:gd name="connsiteX1" fmla="*/ 122766 w 121996"/>
                <a:gd name="connsiteY1" fmla="*/ 132363 h 130129"/>
                <a:gd name="connsiteX2" fmla="*/ 87794 w 121996"/>
                <a:gd name="connsiteY2" fmla="*/ 132363 h 130129"/>
                <a:gd name="connsiteX3" fmla="*/ 87794 w 121996"/>
                <a:gd name="connsiteY3" fmla="*/ 81246 h 130129"/>
                <a:gd name="connsiteX4" fmla="*/ 36230 w 121996"/>
                <a:gd name="connsiteY4" fmla="*/ 81246 h 130129"/>
                <a:gd name="connsiteX5" fmla="*/ 36230 w 121996"/>
                <a:gd name="connsiteY5" fmla="*/ 132363 h 130129"/>
                <a:gd name="connsiteX6" fmla="*/ 1298 w 121996"/>
                <a:gd name="connsiteY6" fmla="*/ 132363 h 130129"/>
                <a:gd name="connsiteX7" fmla="*/ 1298 w 121996"/>
                <a:gd name="connsiteY7" fmla="*/ 1298 h 130129"/>
                <a:gd name="connsiteX8" fmla="*/ 36230 w 121996"/>
                <a:gd name="connsiteY8" fmla="*/ 1298 h 130129"/>
                <a:gd name="connsiteX9" fmla="*/ 36230 w 121996"/>
                <a:gd name="connsiteY9" fmla="*/ 49812 h 130129"/>
                <a:gd name="connsiteX10" fmla="*/ 87794 w 121996"/>
                <a:gd name="connsiteY10" fmla="*/ 49812 h 130129"/>
                <a:gd name="connsiteX11" fmla="*/ 87794 w 1219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96" h="130129">
                  <a:moveTo>
                    <a:pt x="122766" y="1298"/>
                  </a:moveTo>
                  <a:lnTo>
                    <a:pt x="122766" y="132363"/>
                  </a:lnTo>
                  <a:lnTo>
                    <a:pt x="87794" y="132363"/>
                  </a:lnTo>
                  <a:lnTo>
                    <a:pt x="87794" y="81246"/>
                  </a:lnTo>
                  <a:lnTo>
                    <a:pt x="36230" y="81246"/>
                  </a:lnTo>
                  <a:lnTo>
                    <a:pt x="36230" y="132363"/>
                  </a:lnTo>
                  <a:lnTo>
                    <a:pt x="1298" y="132363"/>
                  </a:lnTo>
                  <a:lnTo>
                    <a:pt x="1298" y="1298"/>
                  </a:lnTo>
                  <a:lnTo>
                    <a:pt x="36230" y="1298"/>
                  </a:lnTo>
                  <a:lnTo>
                    <a:pt x="36230" y="49812"/>
                  </a:lnTo>
                  <a:lnTo>
                    <a:pt x="87794" y="49812"/>
                  </a:lnTo>
                  <a:lnTo>
                    <a:pt x="87794" y="1298"/>
                  </a:lnTo>
                  <a:close/>
                </a:path>
              </a:pathLst>
            </a:custGeom>
            <a:solidFill>
              <a:srgbClr val="FFFFFF"/>
            </a:solidFill>
            <a:ln w="4055" cap="flat">
              <a:noFill/>
              <a:prstDash val="solid"/>
              <a:miter/>
            </a:ln>
          </p:spPr>
          <p:txBody>
            <a:bodyPr rtlCol="0" anchor="ctr"/>
            <a:lstStyle/>
            <a:p>
              <a:endParaRPr lang="uk-UA"/>
            </a:p>
          </p:txBody>
        </p:sp>
        <p:sp>
          <p:nvSpPr>
            <p:cNvPr id="51" name="Freeform: Shape 50">
              <a:extLst>
                <a:ext uri="{FF2B5EF4-FFF2-40B4-BE49-F238E27FC236}">
                  <a16:creationId xmlns:a16="http://schemas.microsoft.com/office/drawing/2014/main" id="{63A4B2AA-C48F-4405-8685-46BFCAEF5D3D}"/>
                </a:ext>
              </a:extLst>
            </p:cNvPr>
            <p:cNvSpPr/>
            <p:nvPr/>
          </p:nvSpPr>
          <p:spPr>
            <a:xfrm>
              <a:off x="2664614" y="1319876"/>
              <a:ext cx="130129" cy="134196"/>
            </a:xfrm>
            <a:custGeom>
              <a:avLst/>
              <a:gdLst>
                <a:gd name="connsiteX0" fmla="*/ 129760 w 130129"/>
                <a:gd name="connsiteY0" fmla="*/ 104463 h 134195"/>
                <a:gd name="connsiteX1" fmla="*/ 129760 w 130129"/>
                <a:gd name="connsiteY1" fmla="*/ 134596 h 134195"/>
                <a:gd name="connsiteX2" fmla="*/ 117113 w 130129"/>
                <a:gd name="connsiteY2" fmla="*/ 135491 h 134195"/>
                <a:gd name="connsiteX3" fmla="*/ 89583 w 130129"/>
                <a:gd name="connsiteY3" fmla="*/ 115809 h 134195"/>
                <a:gd name="connsiteX4" fmla="*/ 44119 w 130129"/>
                <a:gd name="connsiteY4" fmla="*/ 136792 h 134195"/>
                <a:gd name="connsiteX5" fmla="*/ 1298 w 130129"/>
                <a:gd name="connsiteY5" fmla="*/ 98770 h 134195"/>
                <a:gd name="connsiteX6" fmla="*/ 57660 w 130129"/>
                <a:gd name="connsiteY6" fmla="*/ 55543 h 134195"/>
                <a:gd name="connsiteX7" fmla="*/ 84337 w 130129"/>
                <a:gd name="connsiteY7" fmla="*/ 43750 h 134195"/>
                <a:gd name="connsiteX8" fmla="*/ 60751 w 130129"/>
                <a:gd name="connsiteY8" fmla="*/ 29761 h 134195"/>
                <a:gd name="connsiteX9" fmla="*/ 24925 w 130129"/>
                <a:gd name="connsiteY9" fmla="*/ 45051 h 134195"/>
                <a:gd name="connsiteX10" fmla="*/ 3942 w 130129"/>
                <a:gd name="connsiteY10" fmla="*/ 23621 h 134195"/>
                <a:gd name="connsiteX11" fmla="*/ 62906 w 130129"/>
                <a:gd name="connsiteY11" fmla="*/ 1336 h 134195"/>
                <a:gd name="connsiteX12" fmla="*/ 117113 w 130129"/>
                <a:gd name="connsiteY12" fmla="*/ 45499 h 134195"/>
                <a:gd name="connsiteX13" fmla="*/ 117113 w 130129"/>
                <a:gd name="connsiteY13" fmla="*/ 97022 h 134195"/>
                <a:gd name="connsiteX14" fmla="*/ 122912 w 130129"/>
                <a:gd name="connsiteY14" fmla="*/ 104459 h 134195"/>
                <a:gd name="connsiteX15" fmla="*/ 124514 w 130129"/>
                <a:gd name="connsiteY15" fmla="*/ 104463 h 134195"/>
                <a:gd name="connsiteX16" fmla="*/ 83442 w 130129"/>
                <a:gd name="connsiteY16" fmla="*/ 83480 h 134195"/>
                <a:gd name="connsiteX17" fmla="*/ 83442 w 130129"/>
                <a:gd name="connsiteY17" fmla="*/ 72134 h 134195"/>
                <a:gd name="connsiteX18" fmla="*/ 61158 w 130129"/>
                <a:gd name="connsiteY18" fmla="*/ 78234 h 134195"/>
                <a:gd name="connsiteX19" fmla="*/ 34969 w 130129"/>
                <a:gd name="connsiteY19" fmla="*/ 95273 h 134195"/>
                <a:gd name="connsiteX20" fmla="*/ 52008 w 130129"/>
                <a:gd name="connsiteY20" fmla="*/ 109262 h 134195"/>
                <a:gd name="connsiteX21" fmla="*/ 83402 w 130129"/>
                <a:gd name="connsiteY21" fmla="*/ 83480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129" h="134195">
                  <a:moveTo>
                    <a:pt x="129760" y="104463"/>
                  </a:moveTo>
                  <a:lnTo>
                    <a:pt x="129760" y="134596"/>
                  </a:lnTo>
                  <a:cubicBezTo>
                    <a:pt x="125580" y="135276"/>
                    <a:pt x="121347" y="135577"/>
                    <a:pt x="117113" y="135491"/>
                  </a:cubicBezTo>
                  <a:cubicBezTo>
                    <a:pt x="100847" y="135491"/>
                    <a:pt x="92185" y="129351"/>
                    <a:pt x="89583" y="115809"/>
                  </a:cubicBezTo>
                  <a:cubicBezTo>
                    <a:pt x="80392" y="128944"/>
                    <a:pt x="63354" y="136792"/>
                    <a:pt x="44119" y="136792"/>
                  </a:cubicBezTo>
                  <a:cubicBezTo>
                    <a:pt x="18337" y="136792"/>
                    <a:pt x="1298" y="121502"/>
                    <a:pt x="1298" y="98770"/>
                  </a:cubicBezTo>
                  <a:cubicBezTo>
                    <a:pt x="1298" y="64693"/>
                    <a:pt x="33221" y="58593"/>
                    <a:pt x="57660" y="55543"/>
                  </a:cubicBezTo>
                  <a:cubicBezTo>
                    <a:pt x="72544" y="53794"/>
                    <a:pt x="84337" y="51476"/>
                    <a:pt x="84337" y="43750"/>
                  </a:cubicBezTo>
                  <a:cubicBezTo>
                    <a:pt x="84337" y="36024"/>
                    <a:pt x="75594" y="29761"/>
                    <a:pt x="60751" y="29761"/>
                  </a:cubicBezTo>
                  <a:cubicBezTo>
                    <a:pt x="47226" y="29765"/>
                    <a:pt x="34286" y="35287"/>
                    <a:pt x="24925" y="45051"/>
                  </a:cubicBezTo>
                  <a:lnTo>
                    <a:pt x="3942" y="23621"/>
                  </a:lnTo>
                  <a:cubicBezTo>
                    <a:pt x="19878" y="8688"/>
                    <a:pt x="41077" y="677"/>
                    <a:pt x="62906" y="1336"/>
                  </a:cubicBezTo>
                  <a:cubicBezTo>
                    <a:pt x="97025" y="1336"/>
                    <a:pt x="117113" y="17968"/>
                    <a:pt x="117113" y="45499"/>
                  </a:cubicBezTo>
                  <a:lnTo>
                    <a:pt x="117113" y="97022"/>
                  </a:lnTo>
                  <a:cubicBezTo>
                    <a:pt x="116662" y="100677"/>
                    <a:pt x="119256" y="104008"/>
                    <a:pt x="122912" y="104459"/>
                  </a:cubicBezTo>
                  <a:cubicBezTo>
                    <a:pt x="123445" y="104524"/>
                    <a:pt x="123982" y="104524"/>
                    <a:pt x="124514" y="104463"/>
                  </a:cubicBezTo>
                  <a:close/>
                  <a:moveTo>
                    <a:pt x="83442" y="83480"/>
                  </a:moveTo>
                  <a:lnTo>
                    <a:pt x="83442" y="72134"/>
                  </a:lnTo>
                  <a:cubicBezTo>
                    <a:pt x="76387" y="75343"/>
                    <a:pt x="68864" y="77405"/>
                    <a:pt x="61158" y="78234"/>
                  </a:cubicBezTo>
                  <a:cubicBezTo>
                    <a:pt x="47616" y="80430"/>
                    <a:pt x="34969" y="82626"/>
                    <a:pt x="34969" y="95273"/>
                  </a:cubicBezTo>
                  <a:cubicBezTo>
                    <a:pt x="34969" y="104016"/>
                    <a:pt x="41069" y="109262"/>
                    <a:pt x="52008" y="109262"/>
                  </a:cubicBezTo>
                  <a:cubicBezTo>
                    <a:pt x="69454" y="109262"/>
                    <a:pt x="83402" y="97916"/>
                    <a:pt x="83402" y="83480"/>
                  </a:cubicBezTo>
                  <a:close/>
                </a:path>
              </a:pathLst>
            </a:custGeom>
            <a:solidFill>
              <a:srgbClr val="FFFFFF"/>
            </a:solidFill>
            <a:ln w="4055" cap="flat">
              <a:noFill/>
              <a:prstDash val="solid"/>
              <a:miter/>
            </a:ln>
          </p:spPr>
          <p:txBody>
            <a:bodyPr rtlCol="0" anchor="ctr"/>
            <a:lstStyle/>
            <a:p>
              <a:endParaRPr lang="uk-UA"/>
            </a:p>
          </p:txBody>
        </p:sp>
        <p:sp>
          <p:nvSpPr>
            <p:cNvPr id="52" name="Freeform: Shape 51">
              <a:extLst>
                <a:ext uri="{FF2B5EF4-FFF2-40B4-BE49-F238E27FC236}">
                  <a16:creationId xmlns:a16="http://schemas.microsoft.com/office/drawing/2014/main" id="{D2716468-43EA-494A-81B4-92BAD43C9511}"/>
                </a:ext>
              </a:extLst>
            </p:cNvPr>
            <p:cNvSpPr/>
            <p:nvPr/>
          </p:nvSpPr>
          <p:spPr>
            <a:xfrm>
              <a:off x="2822192" y="1322109"/>
              <a:ext cx="121996" cy="130129"/>
            </a:xfrm>
            <a:custGeom>
              <a:avLst/>
              <a:gdLst>
                <a:gd name="connsiteX0" fmla="*/ 122644 w 121996"/>
                <a:gd name="connsiteY0" fmla="*/ 1298 h 130129"/>
                <a:gd name="connsiteX1" fmla="*/ 122644 w 121996"/>
                <a:gd name="connsiteY1" fmla="*/ 132363 h 130129"/>
                <a:gd name="connsiteX2" fmla="*/ 87672 w 121996"/>
                <a:gd name="connsiteY2" fmla="*/ 132363 h 130129"/>
                <a:gd name="connsiteX3" fmla="*/ 87672 w 121996"/>
                <a:gd name="connsiteY3" fmla="*/ 81246 h 130129"/>
                <a:gd name="connsiteX4" fmla="*/ 36230 w 121996"/>
                <a:gd name="connsiteY4" fmla="*/ 81246 h 130129"/>
                <a:gd name="connsiteX5" fmla="*/ 36230 w 121996"/>
                <a:gd name="connsiteY5" fmla="*/ 132363 h 130129"/>
                <a:gd name="connsiteX6" fmla="*/ 1298 w 121996"/>
                <a:gd name="connsiteY6" fmla="*/ 132363 h 130129"/>
                <a:gd name="connsiteX7" fmla="*/ 1298 w 121996"/>
                <a:gd name="connsiteY7" fmla="*/ 1298 h 130129"/>
                <a:gd name="connsiteX8" fmla="*/ 36230 w 121996"/>
                <a:gd name="connsiteY8" fmla="*/ 1298 h 130129"/>
                <a:gd name="connsiteX9" fmla="*/ 36230 w 121996"/>
                <a:gd name="connsiteY9" fmla="*/ 49812 h 130129"/>
                <a:gd name="connsiteX10" fmla="*/ 87794 w 121996"/>
                <a:gd name="connsiteY10" fmla="*/ 49812 h 130129"/>
                <a:gd name="connsiteX11" fmla="*/ 87794 w 1219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96" h="130129">
                  <a:moveTo>
                    <a:pt x="122644" y="1298"/>
                  </a:moveTo>
                  <a:lnTo>
                    <a:pt x="122644" y="132363"/>
                  </a:lnTo>
                  <a:lnTo>
                    <a:pt x="87672" y="132363"/>
                  </a:lnTo>
                  <a:lnTo>
                    <a:pt x="87672" y="81246"/>
                  </a:lnTo>
                  <a:lnTo>
                    <a:pt x="36230" y="81246"/>
                  </a:lnTo>
                  <a:lnTo>
                    <a:pt x="36230" y="132363"/>
                  </a:lnTo>
                  <a:lnTo>
                    <a:pt x="1298" y="132363"/>
                  </a:lnTo>
                  <a:lnTo>
                    <a:pt x="1298" y="1298"/>
                  </a:lnTo>
                  <a:lnTo>
                    <a:pt x="36230" y="1298"/>
                  </a:lnTo>
                  <a:lnTo>
                    <a:pt x="36230" y="49812"/>
                  </a:lnTo>
                  <a:lnTo>
                    <a:pt x="87794" y="49812"/>
                  </a:lnTo>
                  <a:lnTo>
                    <a:pt x="87794" y="1298"/>
                  </a:lnTo>
                  <a:close/>
                </a:path>
              </a:pathLst>
            </a:custGeom>
            <a:solidFill>
              <a:srgbClr val="FFFFFF"/>
            </a:solidFill>
            <a:ln w="4055" cap="flat">
              <a:noFill/>
              <a:prstDash val="solid"/>
              <a:miter/>
            </a:ln>
          </p:spPr>
          <p:txBody>
            <a:bodyPr rtlCol="0" anchor="ctr"/>
            <a:lstStyle/>
            <a:p>
              <a:endParaRPr lang="uk-UA"/>
            </a:p>
          </p:txBody>
        </p:sp>
        <p:sp>
          <p:nvSpPr>
            <p:cNvPr id="53" name="Freeform: Shape 52">
              <a:extLst>
                <a:ext uri="{FF2B5EF4-FFF2-40B4-BE49-F238E27FC236}">
                  <a16:creationId xmlns:a16="http://schemas.microsoft.com/office/drawing/2014/main" id="{D9C2DF01-2C59-428D-A718-9D912224CFE3}"/>
                </a:ext>
              </a:extLst>
            </p:cNvPr>
            <p:cNvSpPr/>
            <p:nvPr/>
          </p:nvSpPr>
          <p:spPr>
            <a:xfrm>
              <a:off x="2970336" y="1320035"/>
              <a:ext cx="130129" cy="134196"/>
            </a:xfrm>
            <a:custGeom>
              <a:avLst/>
              <a:gdLst>
                <a:gd name="connsiteX0" fmla="*/ 1298 w 130129"/>
                <a:gd name="connsiteY0" fmla="*/ 69047 h 134195"/>
                <a:gd name="connsiteX1" fmla="*/ 69006 w 130129"/>
                <a:gd name="connsiteY1" fmla="*/ 1298 h 134195"/>
                <a:gd name="connsiteX2" fmla="*/ 129760 w 130129"/>
                <a:gd name="connsiteY2" fmla="*/ 40622 h 134195"/>
                <a:gd name="connsiteX3" fmla="*/ 96496 w 130129"/>
                <a:gd name="connsiteY3" fmla="*/ 50544 h 134195"/>
                <a:gd name="connsiteX4" fmla="*/ 68518 w 130129"/>
                <a:gd name="connsiteY4" fmla="*/ 30211 h 134195"/>
                <a:gd name="connsiteX5" fmla="*/ 37084 w 130129"/>
                <a:gd name="connsiteY5" fmla="*/ 69128 h 134195"/>
                <a:gd name="connsiteX6" fmla="*/ 68518 w 130129"/>
                <a:gd name="connsiteY6" fmla="*/ 108004 h 134195"/>
                <a:gd name="connsiteX7" fmla="*/ 96496 w 130129"/>
                <a:gd name="connsiteY7" fmla="*/ 87468 h 134195"/>
                <a:gd name="connsiteX8" fmla="*/ 129719 w 130129"/>
                <a:gd name="connsiteY8" fmla="*/ 97513 h 134195"/>
                <a:gd name="connsiteX9" fmla="*/ 68965 w 130129"/>
                <a:gd name="connsiteY9" fmla="*/ 136836 h 134195"/>
                <a:gd name="connsiteX10" fmla="*/ 1298 w 130129"/>
                <a:gd name="connsiteY10" fmla="*/ 69047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129" h="134195">
                  <a:moveTo>
                    <a:pt x="1298" y="69047"/>
                  </a:moveTo>
                  <a:cubicBezTo>
                    <a:pt x="1298" y="28381"/>
                    <a:pt x="28381" y="1298"/>
                    <a:pt x="69006" y="1298"/>
                  </a:cubicBezTo>
                  <a:cubicBezTo>
                    <a:pt x="99180" y="1298"/>
                    <a:pt x="122318" y="15735"/>
                    <a:pt x="129760" y="40622"/>
                  </a:cubicBezTo>
                  <a:lnTo>
                    <a:pt x="96496" y="50544"/>
                  </a:lnTo>
                  <a:cubicBezTo>
                    <a:pt x="91697" y="37450"/>
                    <a:pt x="82060" y="30211"/>
                    <a:pt x="68518" y="30211"/>
                  </a:cubicBezTo>
                  <a:cubicBezTo>
                    <a:pt x="49324" y="30211"/>
                    <a:pt x="37084" y="45095"/>
                    <a:pt x="37084" y="69128"/>
                  </a:cubicBezTo>
                  <a:cubicBezTo>
                    <a:pt x="37084" y="93161"/>
                    <a:pt x="49283" y="108004"/>
                    <a:pt x="68518" y="108004"/>
                  </a:cubicBezTo>
                  <a:cubicBezTo>
                    <a:pt x="82060" y="108004"/>
                    <a:pt x="91697" y="100563"/>
                    <a:pt x="96496" y="87468"/>
                  </a:cubicBezTo>
                  <a:lnTo>
                    <a:pt x="129719" y="97513"/>
                  </a:lnTo>
                  <a:cubicBezTo>
                    <a:pt x="122278" y="122441"/>
                    <a:pt x="99139" y="136836"/>
                    <a:pt x="68965" y="136836"/>
                  </a:cubicBezTo>
                  <a:cubicBezTo>
                    <a:pt x="28381" y="136633"/>
                    <a:pt x="1298" y="109712"/>
                    <a:pt x="1298" y="69047"/>
                  </a:cubicBezTo>
                  <a:close/>
                </a:path>
              </a:pathLst>
            </a:custGeom>
            <a:solidFill>
              <a:srgbClr val="FFFFFF"/>
            </a:solidFill>
            <a:ln w="4055" cap="flat">
              <a:noFill/>
              <a:prstDash val="solid"/>
              <a:miter/>
            </a:ln>
          </p:spPr>
          <p:txBody>
            <a:bodyPr rtlCol="0" anchor="ctr"/>
            <a:lstStyle/>
            <a:p>
              <a:endParaRPr lang="uk-UA"/>
            </a:p>
          </p:txBody>
        </p:sp>
        <p:sp>
          <p:nvSpPr>
            <p:cNvPr id="54" name="Freeform: Shape 53">
              <a:extLst>
                <a:ext uri="{FF2B5EF4-FFF2-40B4-BE49-F238E27FC236}">
                  <a16:creationId xmlns:a16="http://schemas.microsoft.com/office/drawing/2014/main" id="{F9D8ECA4-9F45-44BA-AB39-EA411C87F77B}"/>
                </a:ext>
              </a:extLst>
            </p:cNvPr>
            <p:cNvSpPr/>
            <p:nvPr/>
          </p:nvSpPr>
          <p:spPr>
            <a:xfrm>
              <a:off x="3122466" y="1275791"/>
              <a:ext cx="36599" cy="178928"/>
            </a:xfrm>
            <a:custGeom>
              <a:avLst/>
              <a:gdLst>
                <a:gd name="connsiteX0" fmla="*/ 1298 w 36598"/>
                <a:gd name="connsiteY0" fmla="*/ 1298 h 178927"/>
                <a:gd name="connsiteX1" fmla="*/ 38873 w 36598"/>
                <a:gd name="connsiteY1" fmla="*/ 1298 h 178927"/>
                <a:gd name="connsiteX2" fmla="*/ 38873 w 36598"/>
                <a:gd name="connsiteY2" fmla="*/ 31025 h 178927"/>
                <a:gd name="connsiteX3" fmla="*/ 1298 w 36598"/>
                <a:gd name="connsiteY3" fmla="*/ 31025 h 178927"/>
                <a:gd name="connsiteX4" fmla="*/ 2600 w 36598"/>
                <a:gd name="connsiteY4" fmla="*/ 47616 h 178927"/>
                <a:gd name="connsiteX5" fmla="*/ 37572 w 36598"/>
                <a:gd name="connsiteY5" fmla="*/ 47616 h 178927"/>
                <a:gd name="connsiteX6" fmla="*/ 37572 w 36598"/>
                <a:gd name="connsiteY6" fmla="*/ 178681 h 178927"/>
                <a:gd name="connsiteX7" fmla="*/ 2600 w 36598"/>
                <a:gd name="connsiteY7" fmla="*/ 178681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8" h="178927">
                  <a:moveTo>
                    <a:pt x="1298" y="1298"/>
                  </a:moveTo>
                  <a:lnTo>
                    <a:pt x="38873" y="1298"/>
                  </a:lnTo>
                  <a:lnTo>
                    <a:pt x="38873" y="31025"/>
                  </a:lnTo>
                  <a:lnTo>
                    <a:pt x="1298" y="31025"/>
                  </a:lnTo>
                  <a:close/>
                  <a:moveTo>
                    <a:pt x="2600" y="47616"/>
                  </a:moveTo>
                  <a:lnTo>
                    <a:pt x="37572" y="47616"/>
                  </a:lnTo>
                  <a:lnTo>
                    <a:pt x="37572" y="178681"/>
                  </a:lnTo>
                  <a:lnTo>
                    <a:pt x="2600" y="178681"/>
                  </a:lnTo>
                  <a:close/>
                </a:path>
              </a:pathLst>
            </a:custGeom>
            <a:solidFill>
              <a:srgbClr val="FFFFFF"/>
            </a:solidFill>
            <a:ln w="4055" cap="flat">
              <a:noFill/>
              <a:prstDash val="solid"/>
              <a:miter/>
            </a:ln>
          </p:spPr>
          <p:txBody>
            <a:bodyPr rtlCol="0" anchor="ctr"/>
            <a:lstStyle/>
            <a:p>
              <a:endParaRPr lang="uk-UA"/>
            </a:p>
          </p:txBody>
        </p:sp>
        <p:sp>
          <p:nvSpPr>
            <p:cNvPr id="55" name="Freeform: Shape 54">
              <a:extLst>
                <a:ext uri="{FF2B5EF4-FFF2-40B4-BE49-F238E27FC236}">
                  <a16:creationId xmlns:a16="http://schemas.microsoft.com/office/drawing/2014/main" id="{7E75FB7B-3AB7-4704-A36D-16B74B53BCF2}"/>
                </a:ext>
              </a:extLst>
            </p:cNvPr>
            <p:cNvSpPr/>
            <p:nvPr/>
          </p:nvSpPr>
          <p:spPr>
            <a:xfrm>
              <a:off x="3196680" y="1322109"/>
              <a:ext cx="113863" cy="130129"/>
            </a:xfrm>
            <a:custGeom>
              <a:avLst/>
              <a:gdLst>
                <a:gd name="connsiteX0" fmla="*/ 115771 w 113863"/>
                <a:gd name="connsiteY0" fmla="*/ 96130 h 130129"/>
                <a:gd name="connsiteX1" fmla="*/ 66973 w 113863"/>
                <a:gd name="connsiteY1" fmla="*/ 132363 h 130129"/>
                <a:gd name="connsiteX2" fmla="*/ 1298 w 113863"/>
                <a:gd name="connsiteY2" fmla="*/ 132363 h 130129"/>
                <a:gd name="connsiteX3" fmla="*/ 1298 w 113863"/>
                <a:gd name="connsiteY3" fmla="*/ 1298 h 130129"/>
                <a:gd name="connsiteX4" fmla="*/ 62012 w 113863"/>
                <a:gd name="connsiteY4" fmla="*/ 1298 h 130129"/>
                <a:gd name="connsiteX5" fmla="*/ 112274 w 113863"/>
                <a:gd name="connsiteY5" fmla="*/ 35823 h 130129"/>
                <a:gd name="connsiteX6" fmla="*/ 92592 w 113863"/>
                <a:gd name="connsiteY6" fmla="*/ 65102 h 130129"/>
                <a:gd name="connsiteX7" fmla="*/ 115771 w 113863"/>
                <a:gd name="connsiteY7" fmla="*/ 96130 h 130129"/>
                <a:gd name="connsiteX8" fmla="*/ 34075 w 113863"/>
                <a:gd name="connsiteY8" fmla="*/ 53309 h 130129"/>
                <a:gd name="connsiteX9" fmla="*/ 62012 w 113863"/>
                <a:gd name="connsiteY9" fmla="*/ 53309 h 130129"/>
                <a:gd name="connsiteX10" fmla="*/ 78644 w 113863"/>
                <a:gd name="connsiteY10" fmla="*/ 40174 h 130129"/>
                <a:gd name="connsiteX11" fmla="*/ 62378 w 113863"/>
                <a:gd name="connsiteY11" fmla="*/ 27080 h 130129"/>
                <a:gd name="connsiteX12" fmla="*/ 33912 w 113863"/>
                <a:gd name="connsiteY12" fmla="*/ 27080 h 130129"/>
                <a:gd name="connsiteX13" fmla="*/ 80799 w 113863"/>
                <a:gd name="connsiteY13" fmla="*/ 92185 h 130129"/>
                <a:gd name="connsiteX14" fmla="*/ 62459 w 113863"/>
                <a:gd name="connsiteY14" fmla="*/ 77343 h 130129"/>
                <a:gd name="connsiteX15" fmla="*/ 33993 w 113863"/>
                <a:gd name="connsiteY15" fmla="*/ 77343 h 130129"/>
                <a:gd name="connsiteX16" fmla="*/ 33993 w 113863"/>
                <a:gd name="connsiteY16" fmla="*/ 106174 h 130129"/>
                <a:gd name="connsiteX17" fmla="*/ 63272 w 113863"/>
                <a:gd name="connsiteY17" fmla="*/ 106174 h 130129"/>
                <a:gd name="connsiteX18" fmla="*/ 80799 w 113863"/>
                <a:gd name="connsiteY18" fmla="*/ 92185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863" h="130129">
                  <a:moveTo>
                    <a:pt x="115771" y="96130"/>
                  </a:moveTo>
                  <a:cubicBezTo>
                    <a:pt x="115771" y="119716"/>
                    <a:pt x="97431" y="132363"/>
                    <a:pt x="66973" y="132363"/>
                  </a:cubicBezTo>
                  <a:lnTo>
                    <a:pt x="1298" y="132363"/>
                  </a:lnTo>
                  <a:lnTo>
                    <a:pt x="1298" y="1298"/>
                  </a:lnTo>
                  <a:lnTo>
                    <a:pt x="62012" y="1298"/>
                  </a:lnTo>
                  <a:cubicBezTo>
                    <a:pt x="93487" y="1298"/>
                    <a:pt x="112274" y="12237"/>
                    <a:pt x="112274" y="35823"/>
                  </a:cubicBezTo>
                  <a:cubicBezTo>
                    <a:pt x="112734" y="48812"/>
                    <a:pt x="104796" y="60625"/>
                    <a:pt x="92592" y="65102"/>
                  </a:cubicBezTo>
                  <a:cubicBezTo>
                    <a:pt x="106654" y="68705"/>
                    <a:pt x="116304" y="81625"/>
                    <a:pt x="115771" y="96130"/>
                  </a:cubicBezTo>
                  <a:close/>
                  <a:moveTo>
                    <a:pt x="34075" y="53309"/>
                  </a:moveTo>
                  <a:lnTo>
                    <a:pt x="62012" y="53309"/>
                  </a:lnTo>
                  <a:cubicBezTo>
                    <a:pt x="73398" y="53309"/>
                    <a:pt x="78644" y="49243"/>
                    <a:pt x="78644" y="40174"/>
                  </a:cubicBezTo>
                  <a:cubicBezTo>
                    <a:pt x="78644" y="32041"/>
                    <a:pt x="72951" y="27080"/>
                    <a:pt x="62378" y="27080"/>
                  </a:cubicBezTo>
                  <a:lnTo>
                    <a:pt x="33912" y="27080"/>
                  </a:lnTo>
                  <a:close/>
                  <a:moveTo>
                    <a:pt x="80799" y="92185"/>
                  </a:moveTo>
                  <a:cubicBezTo>
                    <a:pt x="80799" y="82995"/>
                    <a:pt x="74252" y="77343"/>
                    <a:pt x="62459" y="77343"/>
                  </a:cubicBezTo>
                  <a:lnTo>
                    <a:pt x="33993" y="77343"/>
                  </a:lnTo>
                  <a:lnTo>
                    <a:pt x="33993" y="106174"/>
                  </a:lnTo>
                  <a:lnTo>
                    <a:pt x="63272" y="106174"/>
                  </a:lnTo>
                  <a:cubicBezTo>
                    <a:pt x="74699" y="106174"/>
                    <a:pt x="80799" y="100929"/>
                    <a:pt x="80799" y="92185"/>
                  </a:cubicBezTo>
                  <a:close/>
                </a:path>
              </a:pathLst>
            </a:custGeom>
            <a:solidFill>
              <a:srgbClr val="FFFFFF"/>
            </a:solidFill>
            <a:ln w="4055" cap="flat">
              <a:noFill/>
              <a:prstDash val="solid"/>
              <a:miter/>
            </a:ln>
          </p:spPr>
          <p:txBody>
            <a:bodyPr rtlCol="0" anchor="ctr"/>
            <a:lstStyle/>
            <a:p>
              <a:endParaRPr lang="uk-UA"/>
            </a:p>
          </p:txBody>
        </p:sp>
        <p:sp>
          <p:nvSpPr>
            <p:cNvPr id="56" name="Freeform: Shape 55">
              <a:extLst>
                <a:ext uri="{FF2B5EF4-FFF2-40B4-BE49-F238E27FC236}">
                  <a16:creationId xmlns:a16="http://schemas.microsoft.com/office/drawing/2014/main" id="{3E51F7BE-262E-42C1-9EC5-B9E6AB546900}"/>
                </a:ext>
              </a:extLst>
            </p:cNvPr>
            <p:cNvSpPr/>
            <p:nvPr/>
          </p:nvSpPr>
          <p:spPr>
            <a:xfrm>
              <a:off x="2209934" y="1558091"/>
              <a:ext cx="146395" cy="170795"/>
            </a:xfrm>
            <a:custGeom>
              <a:avLst/>
              <a:gdLst>
                <a:gd name="connsiteX0" fmla="*/ 149036 w 146395"/>
                <a:gd name="connsiteY0" fmla="*/ 1298 h 170794"/>
                <a:gd name="connsiteX1" fmla="*/ 100522 w 146395"/>
                <a:gd name="connsiteY1" fmla="*/ 133705 h 170794"/>
                <a:gd name="connsiteX2" fmla="*/ 59856 w 146395"/>
                <a:gd name="connsiteY2" fmla="*/ 169531 h 170794"/>
                <a:gd name="connsiteX3" fmla="*/ 24030 w 146395"/>
                <a:gd name="connsiteY3" fmla="*/ 134111 h 170794"/>
                <a:gd name="connsiteX4" fmla="*/ 41923 w 146395"/>
                <a:gd name="connsiteY4" fmla="*/ 101579 h 170794"/>
                <a:gd name="connsiteX5" fmla="*/ 62012 w 146395"/>
                <a:gd name="connsiteY5" fmla="*/ 101579 h 170794"/>
                <a:gd name="connsiteX6" fmla="*/ 1298 w 146395"/>
                <a:gd name="connsiteY6" fmla="*/ 1502 h 170794"/>
                <a:gd name="connsiteX7" fmla="*/ 17890 w 146395"/>
                <a:gd name="connsiteY7" fmla="*/ 1502 h 170794"/>
                <a:gd name="connsiteX8" fmla="*/ 78197 w 146395"/>
                <a:gd name="connsiteY8" fmla="*/ 101579 h 170794"/>
                <a:gd name="connsiteX9" fmla="*/ 97879 w 146395"/>
                <a:gd name="connsiteY9" fmla="*/ 101579 h 170794"/>
                <a:gd name="connsiteX10" fmla="*/ 134112 w 146395"/>
                <a:gd name="connsiteY10" fmla="*/ 1502 h 170794"/>
                <a:gd name="connsiteX11" fmla="*/ 88322 w 146395"/>
                <a:gd name="connsiteY11" fmla="*/ 128459 h 170794"/>
                <a:gd name="connsiteX12" fmla="*/ 93568 w 146395"/>
                <a:gd name="connsiteY12" fmla="*/ 113616 h 170794"/>
                <a:gd name="connsiteX13" fmla="*/ 47657 w 146395"/>
                <a:gd name="connsiteY13" fmla="*/ 113616 h 170794"/>
                <a:gd name="connsiteX14" fmla="*/ 38019 w 146395"/>
                <a:gd name="connsiteY14" fmla="*/ 133949 h 170794"/>
                <a:gd name="connsiteX15" fmla="*/ 59897 w 146395"/>
                <a:gd name="connsiteY15" fmla="*/ 156681 h 170794"/>
                <a:gd name="connsiteX16" fmla="*/ 88322 w 146395"/>
                <a:gd name="connsiteY16" fmla="*/ 128459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6395" h="170794">
                  <a:moveTo>
                    <a:pt x="149036" y="1298"/>
                  </a:moveTo>
                  <a:lnTo>
                    <a:pt x="100522" y="133705"/>
                  </a:lnTo>
                  <a:cubicBezTo>
                    <a:pt x="91779" y="158104"/>
                    <a:pt x="78685" y="169531"/>
                    <a:pt x="59856" y="169531"/>
                  </a:cubicBezTo>
                  <a:cubicBezTo>
                    <a:pt x="38426" y="169531"/>
                    <a:pt x="24030" y="155542"/>
                    <a:pt x="24030" y="134111"/>
                  </a:cubicBezTo>
                  <a:cubicBezTo>
                    <a:pt x="24006" y="120912"/>
                    <a:pt x="30764" y="108626"/>
                    <a:pt x="41923" y="101579"/>
                  </a:cubicBezTo>
                  <a:lnTo>
                    <a:pt x="62012" y="101579"/>
                  </a:lnTo>
                  <a:lnTo>
                    <a:pt x="1298" y="1502"/>
                  </a:lnTo>
                  <a:lnTo>
                    <a:pt x="17890" y="1502"/>
                  </a:lnTo>
                  <a:lnTo>
                    <a:pt x="78197" y="101579"/>
                  </a:lnTo>
                  <a:lnTo>
                    <a:pt x="97879" y="101579"/>
                  </a:lnTo>
                  <a:lnTo>
                    <a:pt x="134112" y="1502"/>
                  </a:lnTo>
                  <a:close/>
                  <a:moveTo>
                    <a:pt x="88322" y="128459"/>
                  </a:moveTo>
                  <a:lnTo>
                    <a:pt x="93568" y="113616"/>
                  </a:lnTo>
                  <a:lnTo>
                    <a:pt x="47657" y="113616"/>
                  </a:lnTo>
                  <a:cubicBezTo>
                    <a:pt x="41557" y="117073"/>
                    <a:pt x="38019" y="124962"/>
                    <a:pt x="38019" y="133949"/>
                  </a:cubicBezTo>
                  <a:cubicBezTo>
                    <a:pt x="38019" y="147531"/>
                    <a:pt x="46762" y="156681"/>
                    <a:pt x="59897" y="156681"/>
                  </a:cubicBezTo>
                  <a:cubicBezTo>
                    <a:pt x="72056" y="156843"/>
                    <a:pt x="81287" y="148548"/>
                    <a:pt x="88322" y="128459"/>
                  </a:cubicBezTo>
                  <a:close/>
                </a:path>
              </a:pathLst>
            </a:custGeom>
            <a:solidFill>
              <a:srgbClr val="FFFFFF"/>
            </a:solidFill>
            <a:ln w="4055" cap="flat">
              <a:noFill/>
              <a:prstDash val="solid"/>
              <a:miter/>
            </a:ln>
          </p:spPr>
          <p:txBody>
            <a:bodyPr rtlCol="0" anchor="ctr"/>
            <a:lstStyle/>
            <a:p>
              <a:endParaRPr lang="uk-UA"/>
            </a:p>
          </p:txBody>
        </p:sp>
        <p:sp>
          <p:nvSpPr>
            <p:cNvPr id="57" name="Freeform: Shape 56">
              <a:extLst>
                <a:ext uri="{FF2B5EF4-FFF2-40B4-BE49-F238E27FC236}">
                  <a16:creationId xmlns:a16="http://schemas.microsoft.com/office/drawing/2014/main" id="{B522931B-4E33-4787-B3B4-19E34984360E}"/>
                </a:ext>
              </a:extLst>
            </p:cNvPr>
            <p:cNvSpPr/>
            <p:nvPr/>
          </p:nvSpPr>
          <p:spPr>
            <a:xfrm>
              <a:off x="2388902" y="1549266"/>
              <a:ext cx="105730" cy="174861"/>
            </a:xfrm>
            <a:custGeom>
              <a:avLst/>
              <a:gdLst>
                <a:gd name="connsiteX0" fmla="*/ 105727 w 105730"/>
                <a:gd name="connsiteY0" fmla="*/ 163472 h 174861"/>
                <a:gd name="connsiteX1" fmla="*/ 105727 w 105730"/>
                <a:gd name="connsiteY1" fmla="*/ 176160 h 174861"/>
                <a:gd name="connsiteX2" fmla="*/ 99180 w 105730"/>
                <a:gd name="connsiteY2" fmla="*/ 176160 h 174861"/>
                <a:gd name="connsiteX3" fmla="*/ 80799 w 105730"/>
                <a:gd name="connsiteY3" fmla="*/ 155623 h 174861"/>
                <a:gd name="connsiteX4" fmla="*/ 80799 w 105730"/>
                <a:gd name="connsiteY4" fmla="*/ 115405 h 174861"/>
                <a:gd name="connsiteX5" fmla="*/ 15287 w 105730"/>
                <a:gd name="connsiteY5" fmla="*/ 115405 h 174861"/>
                <a:gd name="connsiteX6" fmla="*/ 15287 w 105730"/>
                <a:gd name="connsiteY6" fmla="*/ 176160 h 174861"/>
                <a:gd name="connsiteX7" fmla="*/ 1298 w 105730"/>
                <a:gd name="connsiteY7" fmla="*/ 176160 h 174861"/>
                <a:gd name="connsiteX8" fmla="*/ 1298 w 105730"/>
                <a:gd name="connsiteY8" fmla="*/ 1298 h 174861"/>
                <a:gd name="connsiteX9" fmla="*/ 15287 w 105730"/>
                <a:gd name="connsiteY9" fmla="*/ 1298 h 174861"/>
                <a:gd name="connsiteX10" fmla="*/ 15287 w 105730"/>
                <a:gd name="connsiteY10" fmla="*/ 102677 h 174861"/>
                <a:gd name="connsiteX11" fmla="*/ 51886 w 105730"/>
                <a:gd name="connsiteY11" fmla="*/ 102677 h 174861"/>
                <a:gd name="connsiteX12" fmla="*/ 87712 w 105730"/>
                <a:gd name="connsiteY12" fmla="*/ 45014 h 174861"/>
                <a:gd name="connsiteX13" fmla="*/ 103003 w 105730"/>
                <a:gd name="connsiteY13" fmla="*/ 45014 h 174861"/>
                <a:gd name="connsiteX14" fmla="*/ 66404 w 105730"/>
                <a:gd name="connsiteY14" fmla="*/ 102677 h 174861"/>
                <a:gd name="connsiteX15" fmla="*/ 94341 w 105730"/>
                <a:gd name="connsiteY15" fmla="*/ 102677 h 174861"/>
                <a:gd name="connsiteX16" fmla="*/ 94341 w 105730"/>
                <a:gd name="connsiteY16" fmla="*/ 155989 h 174861"/>
                <a:gd name="connsiteX17" fmla="*/ 101002 w 105730"/>
                <a:gd name="connsiteY17" fmla="*/ 163382 h 174861"/>
                <a:gd name="connsiteX18" fmla="*/ 101335 w 105730"/>
                <a:gd name="connsiteY18" fmla="*/ 163391 h 17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730" h="174861">
                  <a:moveTo>
                    <a:pt x="105727" y="163472"/>
                  </a:moveTo>
                  <a:lnTo>
                    <a:pt x="105727" y="176160"/>
                  </a:lnTo>
                  <a:lnTo>
                    <a:pt x="99180" y="176160"/>
                  </a:lnTo>
                  <a:cubicBezTo>
                    <a:pt x="87794" y="176160"/>
                    <a:pt x="80799" y="168718"/>
                    <a:pt x="80799" y="155623"/>
                  </a:cubicBezTo>
                  <a:lnTo>
                    <a:pt x="80799" y="115405"/>
                  </a:lnTo>
                  <a:lnTo>
                    <a:pt x="15287" y="115405"/>
                  </a:lnTo>
                  <a:lnTo>
                    <a:pt x="15287" y="176160"/>
                  </a:lnTo>
                  <a:lnTo>
                    <a:pt x="1298" y="176160"/>
                  </a:lnTo>
                  <a:lnTo>
                    <a:pt x="1298" y="1298"/>
                  </a:lnTo>
                  <a:lnTo>
                    <a:pt x="15287" y="1298"/>
                  </a:lnTo>
                  <a:lnTo>
                    <a:pt x="15287" y="102677"/>
                  </a:lnTo>
                  <a:lnTo>
                    <a:pt x="51886" y="102677"/>
                  </a:lnTo>
                  <a:lnTo>
                    <a:pt x="87712" y="45014"/>
                  </a:lnTo>
                  <a:lnTo>
                    <a:pt x="103003" y="45014"/>
                  </a:lnTo>
                  <a:lnTo>
                    <a:pt x="66404" y="102677"/>
                  </a:lnTo>
                  <a:lnTo>
                    <a:pt x="94341" y="102677"/>
                  </a:lnTo>
                  <a:lnTo>
                    <a:pt x="94341" y="155989"/>
                  </a:lnTo>
                  <a:cubicBezTo>
                    <a:pt x="94137" y="159869"/>
                    <a:pt x="97118" y="163179"/>
                    <a:pt x="101002" y="163382"/>
                  </a:cubicBezTo>
                  <a:cubicBezTo>
                    <a:pt x="101112" y="163386"/>
                    <a:pt x="101225" y="163391"/>
                    <a:pt x="101335" y="163391"/>
                  </a:cubicBezTo>
                  <a:close/>
                </a:path>
              </a:pathLst>
            </a:custGeom>
            <a:solidFill>
              <a:srgbClr val="FFFFFF"/>
            </a:solidFill>
            <a:ln w="4055" cap="flat">
              <a:noFill/>
              <a:prstDash val="solid"/>
              <a:miter/>
            </a:ln>
          </p:spPr>
          <p:txBody>
            <a:bodyPr rtlCol="0" anchor="ctr"/>
            <a:lstStyle/>
            <a:p>
              <a:endParaRPr lang="uk-UA"/>
            </a:p>
          </p:txBody>
        </p:sp>
        <p:sp>
          <p:nvSpPr>
            <p:cNvPr id="58" name="Freeform: Shape 57">
              <a:extLst>
                <a:ext uri="{FF2B5EF4-FFF2-40B4-BE49-F238E27FC236}">
                  <a16:creationId xmlns:a16="http://schemas.microsoft.com/office/drawing/2014/main" id="{CD9445EC-C19B-45A1-8700-E5026E8032AE}"/>
                </a:ext>
              </a:extLst>
            </p:cNvPr>
            <p:cNvSpPr/>
            <p:nvPr/>
          </p:nvSpPr>
          <p:spPr>
            <a:xfrm>
              <a:off x="2531923" y="1590781"/>
              <a:ext cx="121996" cy="178928"/>
            </a:xfrm>
            <a:custGeom>
              <a:avLst/>
              <a:gdLst>
                <a:gd name="connsiteX0" fmla="*/ 121871 w 121996"/>
                <a:gd name="connsiteY0" fmla="*/ 69092 h 178927"/>
                <a:gd name="connsiteX1" fmla="*/ 62012 w 121996"/>
                <a:gd name="connsiteY1" fmla="*/ 136841 h 178927"/>
                <a:gd name="connsiteX2" fmla="*/ 15287 w 121996"/>
                <a:gd name="connsiteY2" fmla="*/ 112808 h 178927"/>
                <a:gd name="connsiteX3" fmla="*/ 15287 w 121996"/>
                <a:gd name="connsiteY3" fmla="*/ 178360 h 178927"/>
                <a:gd name="connsiteX4" fmla="*/ 1298 w 121996"/>
                <a:gd name="connsiteY4" fmla="*/ 178360 h 178927"/>
                <a:gd name="connsiteX5" fmla="*/ 1298 w 121996"/>
                <a:gd name="connsiteY5" fmla="*/ 3499 h 178927"/>
                <a:gd name="connsiteX6" fmla="*/ 13091 w 121996"/>
                <a:gd name="connsiteY6" fmla="*/ 3499 h 178927"/>
                <a:gd name="connsiteX7" fmla="*/ 14840 w 121996"/>
                <a:gd name="connsiteY7" fmla="*/ 27085 h 178927"/>
                <a:gd name="connsiteX8" fmla="*/ 62012 w 121996"/>
                <a:gd name="connsiteY8" fmla="*/ 1303 h 178927"/>
                <a:gd name="connsiteX9" fmla="*/ 121871 w 121996"/>
                <a:gd name="connsiteY9" fmla="*/ 69092 h 178927"/>
                <a:gd name="connsiteX10" fmla="*/ 107476 w 121996"/>
                <a:gd name="connsiteY10" fmla="*/ 69092 h 178927"/>
                <a:gd name="connsiteX11" fmla="*/ 60711 w 121996"/>
                <a:gd name="connsiteY11" fmla="*/ 13625 h 178927"/>
                <a:gd name="connsiteX12" fmla="*/ 13945 w 121996"/>
                <a:gd name="connsiteY12" fmla="*/ 69092 h 178927"/>
                <a:gd name="connsiteX13" fmla="*/ 60711 w 121996"/>
                <a:gd name="connsiteY13" fmla="*/ 124601 h 178927"/>
                <a:gd name="connsiteX14" fmla="*/ 107476 w 121996"/>
                <a:gd name="connsiteY14" fmla="*/ 69092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96" h="178927">
                  <a:moveTo>
                    <a:pt x="121871" y="69092"/>
                  </a:moveTo>
                  <a:cubicBezTo>
                    <a:pt x="121871" y="108863"/>
                    <a:pt x="97472" y="136841"/>
                    <a:pt x="62012" y="136841"/>
                  </a:cubicBezTo>
                  <a:cubicBezTo>
                    <a:pt x="43395" y="137166"/>
                    <a:pt x="25848" y="128142"/>
                    <a:pt x="15287" y="112808"/>
                  </a:cubicBezTo>
                  <a:lnTo>
                    <a:pt x="15287" y="178360"/>
                  </a:lnTo>
                  <a:lnTo>
                    <a:pt x="1298" y="178360"/>
                  </a:lnTo>
                  <a:lnTo>
                    <a:pt x="1298" y="3499"/>
                  </a:lnTo>
                  <a:lnTo>
                    <a:pt x="13091" y="3499"/>
                  </a:lnTo>
                  <a:lnTo>
                    <a:pt x="14840" y="27085"/>
                  </a:lnTo>
                  <a:cubicBezTo>
                    <a:pt x="24970" y="10831"/>
                    <a:pt x="42858" y="1051"/>
                    <a:pt x="62012" y="1303"/>
                  </a:cubicBezTo>
                  <a:cubicBezTo>
                    <a:pt x="97431" y="1384"/>
                    <a:pt x="121871" y="29362"/>
                    <a:pt x="121871" y="69092"/>
                  </a:cubicBezTo>
                  <a:close/>
                  <a:moveTo>
                    <a:pt x="107476" y="69092"/>
                  </a:moveTo>
                  <a:cubicBezTo>
                    <a:pt x="107476" y="35909"/>
                    <a:pt x="88688" y="13625"/>
                    <a:pt x="60711" y="13625"/>
                  </a:cubicBezTo>
                  <a:cubicBezTo>
                    <a:pt x="32733" y="13625"/>
                    <a:pt x="13945" y="35909"/>
                    <a:pt x="13945" y="69092"/>
                  </a:cubicBezTo>
                  <a:cubicBezTo>
                    <a:pt x="13945" y="102275"/>
                    <a:pt x="32326" y="124601"/>
                    <a:pt x="60711" y="124601"/>
                  </a:cubicBezTo>
                  <a:cubicBezTo>
                    <a:pt x="89095" y="124601"/>
                    <a:pt x="107476" y="102316"/>
                    <a:pt x="107476" y="69092"/>
                  </a:cubicBezTo>
                  <a:close/>
                </a:path>
              </a:pathLst>
            </a:custGeom>
            <a:solidFill>
              <a:srgbClr val="FFFFFF"/>
            </a:solidFill>
            <a:ln w="4055" cap="flat">
              <a:noFill/>
              <a:prstDash val="solid"/>
              <a:miter/>
            </a:ln>
          </p:spPr>
          <p:txBody>
            <a:bodyPr rtlCol="0" anchor="ctr"/>
            <a:lstStyle/>
            <a:p>
              <a:endParaRPr lang="uk-UA"/>
            </a:p>
          </p:txBody>
        </p:sp>
        <p:sp>
          <p:nvSpPr>
            <p:cNvPr id="59" name="Freeform: Shape 58">
              <a:extLst>
                <a:ext uri="{FF2B5EF4-FFF2-40B4-BE49-F238E27FC236}">
                  <a16:creationId xmlns:a16="http://schemas.microsoft.com/office/drawing/2014/main" id="{DBDE4863-BF35-4902-9FEE-91071D4FCE34}"/>
                </a:ext>
              </a:extLst>
            </p:cNvPr>
            <p:cNvSpPr/>
            <p:nvPr/>
          </p:nvSpPr>
          <p:spPr>
            <a:xfrm>
              <a:off x="2681043" y="1591101"/>
              <a:ext cx="117930" cy="134196"/>
            </a:xfrm>
            <a:custGeom>
              <a:avLst/>
              <a:gdLst>
                <a:gd name="connsiteX0" fmla="*/ 118862 w 117929"/>
                <a:gd name="connsiteY0" fmla="*/ 122532 h 134195"/>
                <a:gd name="connsiteX1" fmla="*/ 118862 w 117929"/>
                <a:gd name="connsiteY1" fmla="*/ 134325 h 134195"/>
                <a:gd name="connsiteX2" fmla="*/ 113575 w 117929"/>
                <a:gd name="connsiteY2" fmla="*/ 135220 h 134195"/>
                <a:gd name="connsiteX3" fmla="*/ 92185 w 117929"/>
                <a:gd name="connsiteY3" fmla="*/ 112488 h 134195"/>
                <a:gd name="connsiteX4" fmla="*/ 42818 w 117929"/>
                <a:gd name="connsiteY4" fmla="*/ 136521 h 134195"/>
                <a:gd name="connsiteX5" fmla="*/ 1298 w 117929"/>
                <a:gd name="connsiteY5" fmla="*/ 100695 h 134195"/>
                <a:gd name="connsiteX6" fmla="*/ 55505 w 117929"/>
                <a:gd name="connsiteY6" fmla="*/ 59175 h 134195"/>
                <a:gd name="connsiteX7" fmla="*/ 90884 w 117929"/>
                <a:gd name="connsiteY7" fmla="*/ 39087 h 134195"/>
                <a:gd name="connsiteX8" fmla="*/ 57213 w 117929"/>
                <a:gd name="connsiteY8" fmla="*/ 13305 h 134195"/>
                <a:gd name="connsiteX9" fmla="*/ 14393 w 117929"/>
                <a:gd name="connsiteY9" fmla="*/ 35142 h 134195"/>
                <a:gd name="connsiteX10" fmla="*/ 3942 w 117929"/>
                <a:gd name="connsiteY10" fmla="*/ 25708 h 134195"/>
                <a:gd name="connsiteX11" fmla="*/ 57660 w 117929"/>
                <a:gd name="connsiteY11" fmla="*/ 1309 h 134195"/>
                <a:gd name="connsiteX12" fmla="*/ 104873 w 117929"/>
                <a:gd name="connsiteY12" fmla="*/ 43235 h 134195"/>
                <a:gd name="connsiteX13" fmla="*/ 104873 w 117929"/>
                <a:gd name="connsiteY13" fmla="*/ 112732 h 134195"/>
                <a:gd name="connsiteX14" fmla="*/ 114023 w 117929"/>
                <a:gd name="connsiteY14" fmla="*/ 122776 h 134195"/>
                <a:gd name="connsiteX15" fmla="*/ 91738 w 117929"/>
                <a:gd name="connsiteY15" fmla="*/ 82639 h 134195"/>
                <a:gd name="connsiteX16" fmla="*/ 91738 w 117929"/>
                <a:gd name="connsiteY16" fmla="*/ 58606 h 134195"/>
                <a:gd name="connsiteX17" fmla="*/ 56807 w 117929"/>
                <a:gd name="connsiteY17" fmla="*/ 70399 h 134195"/>
                <a:gd name="connsiteX18" fmla="*/ 15734 w 117929"/>
                <a:gd name="connsiteY18" fmla="*/ 100573 h 134195"/>
                <a:gd name="connsiteX19" fmla="*/ 43265 w 117929"/>
                <a:gd name="connsiteY19" fmla="*/ 123712 h 134195"/>
                <a:gd name="connsiteX20" fmla="*/ 91738 w 117929"/>
                <a:gd name="connsiteY20" fmla="*/ 82639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929" h="134195">
                  <a:moveTo>
                    <a:pt x="118862" y="122532"/>
                  </a:moveTo>
                  <a:lnTo>
                    <a:pt x="118862" y="134325"/>
                  </a:lnTo>
                  <a:cubicBezTo>
                    <a:pt x="117162" y="134915"/>
                    <a:pt x="115377" y="135216"/>
                    <a:pt x="113575" y="135220"/>
                  </a:cubicBezTo>
                  <a:cubicBezTo>
                    <a:pt x="98733" y="135220"/>
                    <a:pt x="92633" y="128632"/>
                    <a:pt x="92185" y="112488"/>
                  </a:cubicBezTo>
                  <a:cubicBezTo>
                    <a:pt x="82995" y="126477"/>
                    <a:pt x="64208" y="136521"/>
                    <a:pt x="42818" y="136521"/>
                  </a:cubicBezTo>
                  <a:cubicBezTo>
                    <a:pt x="17483" y="136521"/>
                    <a:pt x="1298" y="122532"/>
                    <a:pt x="1298" y="100695"/>
                  </a:cubicBezTo>
                  <a:cubicBezTo>
                    <a:pt x="1298" y="69667"/>
                    <a:pt x="30577" y="64421"/>
                    <a:pt x="55505" y="59175"/>
                  </a:cubicBezTo>
                  <a:cubicBezTo>
                    <a:pt x="74699" y="55109"/>
                    <a:pt x="90884" y="52628"/>
                    <a:pt x="90884" y="39087"/>
                  </a:cubicBezTo>
                  <a:cubicBezTo>
                    <a:pt x="90884" y="23797"/>
                    <a:pt x="77343" y="13305"/>
                    <a:pt x="57213" y="13305"/>
                  </a:cubicBezTo>
                  <a:cubicBezTo>
                    <a:pt x="40215" y="13093"/>
                    <a:pt x="24201" y="21259"/>
                    <a:pt x="14393" y="35142"/>
                  </a:cubicBezTo>
                  <a:lnTo>
                    <a:pt x="3942" y="25708"/>
                  </a:lnTo>
                  <a:cubicBezTo>
                    <a:pt x="17268" y="9909"/>
                    <a:pt x="36994" y="951"/>
                    <a:pt x="57660" y="1309"/>
                  </a:cubicBezTo>
                  <a:cubicBezTo>
                    <a:pt x="86940" y="1309"/>
                    <a:pt x="104873" y="17046"/>
                    <a:pt x="104873" y="43235"/>
                  </a:cubicBezTo>
                  <a:lnTo>
                    <a:pt x="104873" y="112732"/>
                  </a:lnTo>
                  <a:cubicBezTo>
                    <a:pt x="104873" y="120133"/>
                    <a:pt x="107476" y="122776"/>
                    <a:pt x="114023" y="122776"/>
                  </a:cubicBezTo>
                  <a:close/>
                  <a:moveTo>
                    <a:pt x="91738" y="82639"/>
                  </a:moveTo>
                  <a:lnTo>
                    <a:pt x="91738" y="58606"/>
                  </a:lnTo>
                  <a:cubicBezTo>
                    <a:pt x="83605" y="65153"/>
                    <a:pt x="70348" y="68244"/>
                    <a:pt x="56807" y="70399"/>
                  </a:cubicBezTo>
                  <a:cubicBezTo>
                    <a:pt x="36270" y="74466"/>
                    <a:pt x="15734" y="78288"/>
                    <a:pt x="15734" y="100573"/>
                  </a:cubicBezTo>
                  <a:cubicBezTo>
                    <a:pt x="15734" y="114968"/>
                    <a:pt x="25779" y="123712"/>
                    <a:pt x="43265" y="123712"/>
                  </a:cubicBezTo>
                  <a:cubicBezTo>
                    <a:pt x="70348" y="123834"/>
                    <a:pt x="91738" y="105941"/>
                    <a:pt x="91738" y="82639"/>
                  </a:cubicBezTo>
                  <a:close/>
                </a:path>
              </a:pathLst>
            </a:custGeom>
            <a:solidFill>
              <a:srgbClr val="FFFFFF"/>
            </a:solidFill>
            <a:ln w="4055" cap="flat">
              <a:noFill/>
              <a:prstDash val="solid"/>
              <a:miter/>
            </a:ln>
          </p:spPr>
          <p:txBody>
            <a:bodyPr rtlCol="0" anchor="ctr"/>
            <a:lstStyle/>
            <a:p>
              <a:endParaRPr lang="uk-UA"/>
            </a:p>
          </p:txBody>
        </p:sp>
        <p:sp>
          <p:nvSpPr>
            <p:cNvPr id="60" name="Freeform: Shape 59">
              <a:extLst>
                <a:ext uri="{FF2B5EF4-FFF2-40B4-BE49-F238E27FC236}">
                  <a16:creationId xmlns:a16="http://schemas.microsoft.com/office/drawing/2014/main" id="{0BA3F017-5EB4-4564-AB9F-617726A3DEAA}"/>
                </a:ext>
              </a:extLst>
            </p:cNvPr>
            <p:cNvSpPr/>
            <p:nvPr/>
          </p:nvSpPr>
          <p:spPr>
            <a:xfrm>
              <a:off x="2815361" y="1553292"/>
              <a:ext cx="52865" cy="170795"/>
            </a:xfrm>
            <a:custGeom>
              <a:avLst/>
              <a:gdLst>
                <a:gd name="connsiteX0" fmla="*/ 1298 w 52865"/>
                <a:gd name="connsiteY0" fmla="*/ 1298 h 170794"/>
                <a:gd name="connsiteX1" fmla="*/ 18337 w 52865"/>
                <a:gd name="connsiteY1" fmla="*/ 1298 h 170794"/>
                <a:gd name="connsiteX2" fmla="*/ 18337 w 52865"/>
                <a:gd name="connsiteY2" fmla="*/ 17890 h 170794"/>
                <a:gd name="connsiteX3" fmla="*/ 1298 w 52865"/>
                <a:gd name="connsiteY3" fmla="*/ 17890 h 170794"/>
                <a:gd name="connsiteX4" fmla="*/ 21631 w 52865"/>
                <a:gd name="connsiteY4" fmla="*/ 41069 h 170794"/>
                <a:gd name="connsiteX5" fmla="*/ 35945 w 52865"/>
                <a:gd name="connsiteY5" fmla="*/ 41069 h 170794"/>
                <a:gd name="connsiteX6" fmla="*/ 35945 w 52865"/>
                <a:gd name="connsiteY6" fmla="*/ 172134 h 170794"/>
                <a:gd name="connsiteX7" fmla="*/ 21956 w 52865"/>
                <a:gd name="connsiteY7" fmla="*/ 172134 h 170794"/>
                <a:gd name="connsiteX8" fmla="*/ 38222 w 52865"/>
                <a:gd name="connsiteY8" fmla="*/ 1298 h 170794"/>
                <a:gd name="connsiteX9" fmla="*/ 55261 w 52865"/>
                <a:gd name="connsiteY9" fmla="*/ 1298 h 170794"/>
                <a:gd name="connsiteX10" fmla="*/ 55261 w 52865"/>
                <a:gd name="connsiteY10" fmla="*/ 17890 h 170794"/>
                <a:gd name="connsiteX11" fmla="*/ 38222 w 52865"/>
                <a:gd name="connsiteY11" fmla="*/ 17890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65" h="170794">
                  <a:moveTo>
                    <a:pt x="1298" y="1298"/>
                  </a:moveTo>
                  <a:lnTo>
                    <a:pt x="18337" y="1298"/>
                  </a:lnTo>
                  <a:lnTo>
                    <a:pt x="18337" y="17890"/>
                  </a:lnTo>
                  <a:lnTo>
                    <a:pt x="1298" y="17890"/>
                  </a:lnTo>
                  <a:close/>
                  <a:moveTo>
                    <a:pt x="21631" y="41069"/>
                  </a:moveTo>
                  <a:lnTo>
                    <a:pt x="35945" y="41069"/>
                  </a:lnTo>
                  <a:lnTo>
                    <a:pt x="35945" y="172134"/>
                  </a:lnTo>
                  <a:lnTo>
                    <a:pt x="21956" y="172134"/>
                  </a:lnTo>
                  <a:close/>
                  <a:moveTo>
                    <a:pt x="38222" y="1298"/>
                  </a:moveTo>
                  <a:lnTo>
                    <a:pt x="55261" y="1298"/>
                  </a:lnTo>
                  <a:lnTo>
                    <a:pt x="55261" y="17890"/>
                  </a:lnTo>
                  <a:lnTo>
                    <a:pt x="38222" y="17890"/>
                  </a:lnTo>
                  <a:close/>
                </a:path>
              </a:pathLst>
            </a:custGeom>
            <a:solidFill>
              <a:srgbClr val="FFFFFF"/>
            </a:solidFill>
            <a:ln w="4055" cap="flat">
              <a:noFill/>
              <a:prstDash val="solid"/>
              <a:miter/>
            </a:ln>
          </p:spPr>
          <p:txBody>
            <a:bodyPr rtlCol="0" anchor="ctr"/>
            <a:lstStyle/>
            <a:p>
              <a:endParaRPr lang="uk-UA"/>
            </a:p>
          </p:txBody>
        </p:sp>
        <p:sp>
          <p:nvSpPr>
            <p:cNvPr id="61" name="Freeform: Shape 60">
              <a:extLst>
                <a:ext uri="{FF2B5EF4-FFF2-40B4-BE49-F238E27FC236}">
                  <a16:creationId xmlns:a16="http://schemas.microsoft.com/office/drawing/2014/main" id="{EFF09703-352A-47C5-B2E4-B90E60D9E2AA}"/>
                </a:ext>
              </a:extLst>
            </p:cNvPr>
            <p:cNvSpPr/>
            <p:nvPr/>
          </p:nvSpPr>
          <p:spPr>
            <a:xfrm>
              <a:off x="2898806" y="1593063"/>
              <a:ext cx="109797" cy="130129"/>
            </a:xfrm>
            <a:custGeom>
              <a:avLst/>
              <a:gdLst>
                <a:gd name="connsiteX0" fmla="*/ 110485 w 109796"/>
                <a:gd name="connsiteY0" fmla="*/ 1298 h 130129"/>
                <a:gd name="connsiteX1" fmla="*/ 110485 w 109796"/>
                <a:gd name="connsiteY1" fmla="*/ 132363 h 130129"/>
                <a:gd name="connsiteX2" fmla="*/ 96496 w 109796"/>
                <a:gd name="connsiteY2" fmla="*/ 132363 h 130129"/>
                <a:gd name="connsiteX3" fmla="*/ 96496 w 109796"/>
                <a:gd name="connsiteY3" fmla="*/ 71609 h 130129"/>
                <a:gd name="connsiteX4" fmla="*/ 15165 w 109796"/>
                <a:gd name="connsiteY4" fmla="*/ 71609 h 130129"/>
                <a:gd name="connsiteX5" fmla="*/ 15165 w 109796"/>
                <a:gd name="connsiteY5" fmla="*/ 132363 h 130129"/>
                <a:gd name="connsiteX6" fmla="*/ 1298 w 109796"/>
                <a:gd name="connsiteY6" fmla="*/ 132363 h 130129"/>
                <a:gd name="connsiteX7" fmla="*/ 1298 w 109796"/>
                <a:gd name="connsiteY7" fmla="*/ 1298 h 130129"/>
                <a:gd name="connsiteX8" fmla="*/ 15287 w 109796"/>
                <a:gd name="connsiteY8" fmla="*/ 1298 h 130129"/>
                <a:gd name="connsiteX9" fmla="*/ 15287 w 109796"/>
                <a:gd name="connsiteY9" fmla="*/ 59409 h 130129"/>
                <a:gd name="connsiteX10" fmla="*/ 96618 w 109796"/>
                <a:gd name="connsiteY10" fmla="*/ 59409 h 130129"/>
                <a:gd name="connsiteX11" fmla="*/ 96618 w 1097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796" h="130129">
                  <a:moveTo>
                    <a:pt x="110485" y="1298"/>
                  </a:moveTo>
                  <a:lnTo>
                    <a:pt x="110485" y="132363"/>
                  </a:lnTo>
                  <a:lnTo>
                    <a:pt x="96496" y="132363"/>
                  </a:lnTo>
                  <a:lnTo>
                    <a:pt x="96496" y="71609"/>
                  </a:lnTo>
                  <a:lnTo>
                    <a:pt x="15165" y="71609"/>
                  </a:lnTo>
                  <a:lnTo>
                    <a:pt x="15165" y="132363"/>
                  </a:lnTo>
                  <a:lnTo>
                    <a:pt x="1298" y="132363"/>
                  </a:lnTo>
                  <a:lnTo>
                    <a:pt x="1298" y="1298"/>
                  </a:lnTo>
                  <a:lnTo>
                    <a:pt x="15287" y="1298"/>
                  </a:lnTo>
                  <a:lnTo>
                    <a:pt x="15287" y="59409"/>
                  </a:lnTo>
                  <a:lnTo>
                    <a:pt x="96618" y="59409"/>
                  </a:lnTo>
                  <a:lnTo>
                    <a:pt x="96618" y="1298"/>
                  </a:lnTo>
                  <a:close/>
                </a:path>
              </a:pathLst>
            </a:custGeom>
            <a:solidFill>
              <a:srgbClr val="FFFFFF"/>
            </a:solidFill>
            <a:ln w="4055" cap="flat">
              <a:noFill/>
              <a:prstDash val="solid"/>
              <a:miter/>
            </a:ln>
          </p:spPr>
          <p:txBody>
            <a:bodyPr rtlCol="0" anchor="ctr"/>
            <a:lstStyle/>
            <a:p>
              <a:endParaRPr lang="uk-UA"/>
            </a:p>
          </p:txBody>
        </p:sp>
        <p:sp>
          <p:nvSpPr>
            <p:cNvPr id="62" name="Freeform: Shape 61">
              <a:extLst>
                <a:ext uri="{FF2B5EF4-FFF2-40B4-BE49-F238E27FC236}">
                  <a16:creationId xmlns:a16="http://schemas.microsoft.com/office/drawing/2014/main" id="{F1AE1CD4-E793-4B78-8062-416189FF7C2C}"/>
                </a:ext>
              </a:extLst>
            </p:cNvPr>
            <p:cNvSpPr/>
            <p:nvPr/>
          </p:nvSpPr>
          <p:spPr>
            <a:xfrm>
              <a:off x="3050651" y="1593063"/>
              <a:ext cx="109797" cy="130129"/>
            </a:xfrm>
            <a:custGeom>
              <a:avLst/>
              <a:gdLst>
                <a:gd name="connsiteX0" fmla="*/ 110607 w 109796"/>
                <a:gd name="connsiteY0" fmla="*/ 1298 h 130129"/>
                <a:gd name="connsiteX1" fmla="*/ 110607 w 109796"/>
                <a:gd name="connsiteY1" fmla="*/ 132363 h 130129"/>
                <a:gd name="connsiteX2" fmla="*/ 97065 w 109796"/>
                <a:gd name="connsiteY2" fmla="*/ 132363 h 130129"/>
                <a:gd name="connsiteX3" fmla="*/ 97065 w 109796"/>
                <a:gd name="connsiteY3" fmla="*/ 20940 h 130129"/>
                <a:gd name="connsiteX4" fmla="*/ 16182 w 109796"/>
                <a:gd name="connsiteY4" fmla="*/ 132363 h 130129"/>
                <a:gd name="connsiteX5" fmla="*/ 1298 w 109796"/>
                <a:gd name="connsiteY5" fmla="*/ 132363 h 130129"/>
                <a:gd name="connsiteX6" fmla="*/ 1298 w 109796"/>
                <a:gd name="connsiteY6" fmla="*/ 1298 h 130129"/>
                <a:gd name="connsiteX7" fmla="*/ 14840 w 109796"/>
                <a:gd name="connsiteY7" fmla="*/ 1298 h 130129"/>
                <a:gd name="connsiteX8" fmla="*/ 14840 w 109796"/>
                <a:gd name="connsiteY8" fmla="*/ 112722 h 130129"/>
                <a:gd name="connsiteX9" fmla="*/ 95683 w 109796"/>
                <a:gd name="connsiteY9"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796" h="130129">
                  <a:moveTo>
                    <a:pt x="110607" y="1298"/>
                  </a:moveTo>
                  <a:lnTo>
                    <a:pt x="110607" y="132363"/>
                  </a:lnTo>
                  <a:lnTo>
                    <a:pt x="97065" y="132363"/>
                  </a:lnTo>
                  <a:lnTo>
                    <a:pt x="97065" y="20940"/>
                  </a:lnTo>
                  <a:lnTo>
                    <a:pt x="16182" y="132363"/>
                  </a:lnTo>
                  <a:lnTo>
                    <a:pt x="1298" y="132363"/>
                  </a:lnTo>
                  <a:lnTo>
                    <a:pt x="1298" y="1298"/>
                  </a:lnTo>
                  <a:lnTo>
                    <a:pt x="14840" y="1298"/>
                  </a:lnTo>
                  <a:lnTo>
                    <a:pt x="14840" y="112722"/>
                  </a:lnTo>
                  <a:lnTo>
                    <a:pt x="95683" y="1298"/>
                  </a:lnTo>
                  <a:close/>
                </a:path>
              </a:pathLst>
            </a:custGeom>
            <a:solidFill>
              <a:srgbClr val="FFFFFF"/>
            </a:solidFill>
            <a:ln w="4055" cap="flat">
              <a:noFill/>
              <a:prstDash val="solid"/>
              <a:miter/>
            </a:ln>
          </p:spPr>
          <p:txBody>
            <a:bodyPr rtlCol="0" anchor="ctr"/>
            <a:lstStyle/>
            <a:p>
              <a:endParaRPr lang="uk-UA"/>
            </a:p>
          </p:txBody>
        </p:sp>
      </p:grpSp>
      <p:sp>
        <p:nvSpPr>
          <p:cNvPr id="64" name="Graphic 8">
            <a:extLst>
              <a:ext uri="{FF2B5EF4-FFF2-40B4-BE49-F238E27FC236}">
                <a16:creationId xmlns:a16="http://schemas.microsoft.com/office/drawing/2014/main" id="{F8B15CB0-79AB-4F46-AC80-5AC41A52698F}"/>
              </a:ext>
            </a:extLst>
          </p:cNvPr>
          <p:cNvSpPr/>
          <p:nvPr userDrawn="1"/>
        </p:nvSpPr>
        <p:spPr>
          <a:xfrm>
            <a:off x="8122971" y="391052"/>
            <a:ext cx="750659" cy="1100428"/>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solidFill>
            <a:schemeClr val="accent3"/>
          </a:solidFill>
          <a:ln w="28575" cap="flat">
            <a:noFill/>
            <a:prstDash val="solid"/>
            <a:miter/>
          </a:ln>
        </p:spPr>
        <p:txBody>
          <a:bodyPr rtlCol="0" anchor="ctr"/>
          <a:lstStyle/>
          <a:p>
            <a:endParaRPr lang="uk-UA" dirty="0"/>
          </a:p>
        </p:txBody>
      </p:sp>
    </p:spTree>
    <p:extLst>
      <p:ext uri="{BB962C8B-B14F-4D97-AF65-F5344CB8AC3E}">
        <p14:creationId xmlns:p14="http://schemas.microsoft.com/office/powerpoint/2010/main" val="184748937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Причина–наслідок 1">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99237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851660" y="1528439"/>
            <a:ext cx="3322956" cy="1021413"/>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1.</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7592477" y="1528439"/>
            <a:ext cx="3322956" cy="1021413"/>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Наслідок 1.</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Причина–наслідок</a:t>
            </a:r>
            <a:r>
              <a:rPr lang="en-US" dirty="0"/>
              <a:t> 1</a:t>
            </a:r>
          </a:p>
        </p:txBody>
      </p:sp>
      <p:sp>
        <p:nvSpPr>
          <p:cNvPr id="46" name="Text Placeholder 10">
            <a:extLst>
              <a:ext uri="{FF2B5EF4-FFF2-40B4-BE49-F238E27FC236}">
                <a16:creationId xmlns:a16="http://schemas.microsoft.com/office/drawing/2014/main" id="{A3AC86C2-07C0-4605-AE2A-8D24AD8912CC}"/>
              </a:ext>
            </a:extLst>
          </p:cNvPr>
          <p:cNvSpPr>
            <a:spLocks noGrp="1"/>
          </p:cNvSpPr>
          <p:nvPr>
            <p:ph type="body" sz="quarter" idx="17" hasCustomPrompt="1"/>
          </p:nvPr>
        </p:nvSpPr>
        <p:spPr>
          <a:xfrm>
            <a:off x="1851660" y="3402209"/>
            <a:ext cx="3322956" cy="1021413"/>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2.</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8" name="Text Placeholder 10">
            <a:extLst>
              <a:ext uri="{FF2B5EF4-FFF2-40B4-BE49-F238E27FC236}">
                <a16:creationId xmlns:a16="http://schemas.microsoft.com/office/drawing/2014/main" id="{D387B59B-DC75-4B45-8BF0-A64A89344E4C}"/>
              </a:ext>
            </a:extLst>
          </p:cNvPr>
          <p:cNvSpPr>
            <a:spLocks noGrp="1"/>
          </p:cNvSpPr>
          <p:nvPr>
            <p:ph type="body" sz="quarter" idx="19" hasCustomPrompt="1"/>
          </p:nvPr>
        </p:nvSpPr>
        <p:spPr>
          <a:xfrm>
            <a:off x="7592477" y="3402209"/>
            <a:ext cx="3322956" cy="1021413"/>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Наслідок 2.</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50" name="Text Placeholder 10">
            <a:extLst>
              <a:ext uri="{FF2B5EF4-FFF2-40B4-BE49-F238E27FC236}">
                <a16:creationId xmlns:a16="http://schemas.microsoft.com/office/drawing/2014/main" id="{79D61905-E3A6-475A-B25D-B456E54B053D}"/>
              </a:ext>
            </a:extLst>
          </p:cNvPr>
          <p:cNvSpPr>
            <a:spLocks noGrp="1"/>
          </p:cNvSpPr>
          <p:nvPr>
            <p:ph type="body" sz="quarter" idx="21" hasCustomPrompt="1"/>
          </p:nvPr>
        </p:nvSpPr>
        <p:spPr>
          <a:xfrm>
            <a:off x="1851660" y="5275979"/>
            <a:ext cx="3322956" cy="1021413"/>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3.</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52" name="Text Placeholder 10">
            <a:extLst>
              <a:ext uri="{FF2B5EF4-FFF2-40B4-BE49-F238E27FC236}">
                <a16:creationId xmlns:a16="http://schemas.microsoft.com/office/drawing/2014/main" id="{76C30524-6881-4878-9F78-34C857986560}"/>
              </a:ext>
            </a:extLst>
          </p:cNvPr>
          <p:cNvSpPr>
            <a:spLocks noGrp="1"/>
          </p:cNvSpPr>
          <p:nvPr>
            <p:ph type="body" sz="quarter" idx="23" hasCustomPrompt="1"/>
          </p:nvPr>
        </p:nvSpPr>
        <p:spPr>
          <a:xfrm>
            <a:off x="7592477" y="5275979"/>
            <a:ext cx="3322956" cy="1021413"/>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Наслідок 3.</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5" name="Slide Number Placeholder 8">
            <a:extLst>
              <a:ext uri="{FF2B5EF4-FFF2-40B4-BE49-F238E27FC236}">
                <a16:creationId xmlns:a16="http://schemas.microsoft.com/office/drawing/2014/main" id="{0A2245EB-FCAD-4CD9-A21D-99D05DB05744}"/>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89893534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Причина–наслідок 2">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84194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6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Причина–наслідок</a:t>
            </a:r>
            <a:r>
              <a:rPr lang="en-US" dirty="0"/>
              <a:t> 2</a:t>
            </a:r>
          </a:p>
        </p:txBody>
      </p:sp>
      <p:sp>
        <p:nvSpPr>
          <p:cNvPr id="42" name="Text Placeholder 10">
            <a:extLst>
              <a:ext uri="{FF2B5EF4-FFF2-40B4-BE49-F238E27FC236}">
                <a16:creationId xmlns:a16="http://schemas.microsoft.com/office/drawing/2014/main" id="{B9A11681-8C2B-49C1-82AF-F2EBE7645079}"/>
              </a:ext>
            </a:extLst>
          </p:cNvPr>
          <p:cNvSpPr>
            <a:spLocks noGrp="1"/>
          </p:cNvSpPr>
          <p:nvPr>
            <p:ph type="body" sz="quarter" idx="11" hasCustomPrompt="1"/>
          </p:nvPr>
        </p:nvSpPr>
        <p:spPr>
          <a:xfrm>
            <a:off x="2148840" y="1259840"/>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1.1.</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3" name="Text Placeholder 10">
            <a:extLst>
              <a:ext uri="{FF2B5EF4-FFF2-40B4-BE49-F238E27FC236}">
                <a16:creationId xmlns:a16="http://schemas.microsoft.com/office/drawing/2014/main" id="{5CA95457-C424-49F0-A747-D8D95767D1AA}"/>
              </a:ext>
            </a:extLst>
          </p:cNvPr>
          <p:cNvSpPr>
            <a:spLocks noGrp="1"/>
          </p:cNvSpPr>
          <p:nvPr>
            <p:ph type="body" sz="quarter" idx="12" hasCustomPrompt="1"/>
          </p:nvPr>
        </p:nvSpPr>
        <p:spPr>
          <a:xfrm>
            <a:off x="2148840" y="2120900"/>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1.2.</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4" name="Text Placeholder 10">
            <a:extLst>
              <a:ext uri="{FF2B5EF4-FFF2-40B4-BE49-F238E27FC236}">
                <a16:creationId xmlns:a16="http://schemas.microsoft.com/office/drawing/2014/main" id="{B99F6A4B-E6F4-45B6-8CD8-3A57571B9B85}"/>
              </a:ext>
            </a:extLst>
          </p:cNvPr>
          <p:cNvSpPr>
            <a:spLocks noGrp="1"/>
          </p:cNvSpPr>
          <p:nvPr>
            <p:ph type="body" sz="quarter" idx="13" hasCustomPrompt="1"/>
          </p:nvPr>
        </p:nvSpPr>
        <p:spPr>
          <a:xfrm>
            <a:off x="2148840" y="3010377"/>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1.3.</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5" name="Text Placeholder 10">
            <a:extLst>
              <a:ext uri="{FF2B5EF4-FFF2-40B4-BE49-F238E27FC236}">
                <a16:creationId xmlns:a16="http://schemas.microsoft.com/office/drawing/2014/main" id="{6C3BDB2A-0EEA-4B7F-A4BC-6CF13FD0A63D}"/>
              </a:ext>
            </a:extLst>
          </p:cNvPr>
          <p:cNvSpPr>
            <a:spLocks noGrp="1"/>
          </p:cNvSpPr>
          <p:nvPr>
            <p:ph type="body" sz="quarter" idx="14" hasCustomPrompt="1"/>
          </p:nvPr>
        </p:nvSpPr>
        <p:spPr>
          <a:xfrm>
            <a:off x="7792260" y="2120900"/>
            <a:ext cx="3322956" cy="738664"/>
          </a:xfrm>
        </p:spPr>
        <p:txBody>
          <a:bodyPr anchor="ctr"/>
          <a:lstStyle>
            <a:lvl1pPr>
              <a:spcAft>
                <a:spcPts val="0"/>
              </a:spcAft>
              <a:defRPr sz="1400">
                <a:latin typeface="+mj-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Наслідок 1.</a:t>
            </a:r>
            <a:br>
              <a:rPr lang="uk-UA" dirty="0"/>
            </a:br>
            <a:r>
              <a:rPr lang="en-US" dirty="0"/>
              <a:t>e-Ukraine Bold</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0" name="Text Placeholder 10">
            <a:extLst>
              <a:ext uri="{FF2B5EF4-FFF2-40B4-BE49-F238E27FC236}">
                <a16:creationId xmlns:a16="http://schemas.microsoft.com/office/drawing/2014/main" id="{96E94FCA-586D-4CCF-9FD7-0C9B07E048E9}"/>
              </a:ext>
            </a:extLst>
          </p:cNvPr>
          <p:cNvSpPr>
            <a:spLocks noGrp="1"/>
          </p:cNvSpPr>
          <p:nvPr>
            <p:ph type="body" sz="quarter" idx="15" hasCustomPrompt="1"/>
          </p:nvPr>
        </p:nvSpPr>
        <p:spPr>
          <a:xfrm>
            <a:off x="2148840" y="4169579"/>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2.1.</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1" name="Text Placeholder 10">
            <a:extLst>
              <a:ext uri="{FF2B5EF4-FFF2-40B4-BE49-F238E27FC236}">
                <a16:creationId xmlns:a16="http://schemas.microsoft.com/office/drawing/2014/main" id="{2974B596-1772-4E88-9DFC-95B12A18524B}"/>
              </a:ext>
            </a:extLst>
          </p:cNvPr>
          <p:cNvSpPr>
            <a:spLocks noGrp="1"/>
          </p:cNvSpPr>
          <p:nvPr>
            <p:ph type="body" sz="quarter" idx="16" hasCustomPrompt="1"/>
          </p:nvPr>
        </p:nvSpPr>
        <p:spPr>
          <a:xfrm>
            <a:off x="2148840" y="5030639"/>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2.2.</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2" name="Text Placeholder 10">
            <a:extLst>
              <a:ext uri="{FF2B5EF4-FFF2-40B4-BE49-F238E27FC236}">
                <a16:creationId xmlns:a16="http://schemas.microsoft.com/office/drawing/2014/main" id="{ED00267D-520E-48EC-B3E6-CBFD24C93EA0}"/>
              </a:ext>
            </a:extLst>
          </p:cNvPr>
          <p:cNvSpPr>
            <a:spLocks noGrp="1"/>
          </p:cNvSpPr>
          <p:nvPr>
            <p:ph type="body" sz="quarter" idx="17" hasCustomPrompt="1"/>
          </p:nvPr>
        </p:nvSpPr>
        <p:spPr>
          <a:xfrm>
            <a:off x="2148840" y="5920116"/>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2.3.</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3" name="Text Placeholder 10">
            <a:extLst>
              <a:ext uri="{FF2B5EF4-FFF2-40B4-BE49-F238E27FC236}">
                <a16:creationId xmlns:a16="http://schemas.microsoft.com/office/drawing/2014/main" id="{D0F9D5A8-549A-4E8A-8DCD-75CB3A7F07FC}"/>
              </a:ext>
            </a:extLst>
          </p:cNvPr>
          <p:cNvSpPr>
            <a:spLocks noGrp="1"/>
          </p:cNvSpPr>
          <p:nvPr>
            <p:ph type="body" sz="quarter" idx="18" hasCustomPrompt="1"/>
          </p:nvPr>
        </p:nvSpPr>
        <p:spPr>
          <a:xfrm>
            <a:off x="7792260" y="5030639"/>
            <a:ext cx="3322956" cy="738664"/>
          </a:xfrm>
        </p:spPr>
        <p:txBody>
          <a:bodyPr anchor="ctr"/>
          <a:lstStyle>
            <a:lvl1pPr>
              <a:spcAft>
                <a:spcPts val="0"/>
              </a:spcAft>
              <a:defRPr sz="1400">
                <a:latin typeface="+mj-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Наслідок 2.</a:t>
            </a:r>
            <a:br>
              <a:rPr lang="uk-UA" dirty="0"/>
            </a:br>
            <a:r>
              <a:rPr lang="en-US" dirty="0"/>
              <a:t>e-Ukraine Bold</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9" name="Slide Number Placeholder 8">
            <a:extLst>
              <a:ext uri="{FF2B5EF4-FFF2-40B4-BE49-F238E27FC236}">
                <a16:creationId xmlns:a16="http://schemas.microsoft.com/office/drawing/2014/main" id="{C688E315-8943-4836-AECC-8C4246734442}"/>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968758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Причина–наслідок 3">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45239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00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Причина–наслідок</a:t>
            </a:r>
            <a:r>
              <a:rPr lang="en-US" dirty="0"/>
              <a:t> </a:t>
            </a:r>
            <a:r>
              <a:rPr lang="uk-UA" dirty="0"/>
              <a:t>3</a:t>
            </a:r>
            <a:endParaRPr lang="en-US" dirty="0"/>
          </a:p>
        </p:txBody>
      </p:sp>
      <p:sp>
        <p:nvSpPr>
          <p:cNvPr id="42" name="Text Placeholder 10">
            <a:extLst>
              <a:ext uri="{FF2B5EF4-FFF2-40B4-BE49-F238E27FC236}">
                <a16:creationId xmlns:a16="http://schemas.microsoft.com/office/drawing/2014/main" id="{B9A11681-8C2B-49C1-82AF-F2EBE7645079}"/>
              </a:ext>
            </a:extLst>
          </p:cNvPr>
          <p:cNvSpPr>
            <a:spLocks noGrp="1"/>
          </p:cNvSpPr>
          <p:nvPr>
            <p:ph type="body" sz="quarter" idx="11" hasCustomPrompt="1"/>
          </p:nvPr>
        </p:nvSpPr>
        <p:spPr>
          <a:xfrm>
            <a:off x="2148840" y="1259840"/>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1</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3" name="Text Placeholder 10">
            <a:extLst>
              <a:ext uri="{FF2B5EF4-FFF2-40B4-BE49-F238E27FC236}">
                <a16:creationId xmlns:a16="http://schemas.microsoft.com/office/drawing/2014/main" id="{5CA95457-C424-49F0-A747-D8D95767D1AA}"/>
              </a:ext>
            </a:extLst>
          </p:cNvPr>
          <p:cNvSpPr>
            <a:spLocks noGrp="1"/>
          </p:cNvSpPr>
          <p:nvPr>
            <p:ph type="body" sz="quarter" idx="12" hasCustomPrompt="1"/>
          </p:nvPr>
        </p:nvSpPr>
        <p:spPr>
          <a:xfrm>
            <a:off x="2148840" y="2191895"/>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2</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4" name="Text Placeholder 10">
            <a:extLst>
              <a:ext uri="{FF2B5EF4-FFF2-40B4-BE49-F238E27FC236}">
                <a16:creationId xmlns:a16="http://schemas.microsoft.com/office/drawing/2014/main" id="{B99F6A4B-E6F4-45B6-8CD8-3A57571B9B85}"/>
              </a:ext>
            </a:extLst>
          </p:cNvPr>
          <p:cNvSpPr>
            <a:spLocks noGrp="1"/>
          </p:cNvSpPr>
          <p:nvPr>
            <p:ph type="body" sz="quarter" idx="13" hasCustomPrompt="1"/>
          </p:nvPr>
        </p:nvSpPr>
        <p:spPr>
          <a:xfrm>
            <a:off x="2148840" y="3123950"/>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3</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5" name="Text Placeholder 10">
            <a:extLst>
              <a:ext uri="{FF2B5EF4-FFF2-40B4-BE49-F238E27FC236}">
                <a16:creationId xmlns:a16="http://schemas.microsoft.com/office/drawing/2014/main" id="{6C3BDB2A-0EEA-4B7F-A4BC-6CF13FD0A63D}"/>
              </a:ext>
            </a:extLst>
          </p:cNvPr>
          <p:cNvSpPr>
            <a:spLocks noGrp="1"/>
          </p:cNvSpPr>
          <p:nvPr>
            <p:ph type="body" sz="quarter" idx="14" hasCustomPrompt="1"/>
          </p:nvPr>
        </p:nvSpPr>
        <p:spPr>
          <a:xfrm>
            <a:off x="7792260" y="3618082"/>
            <a:ext cx="3322956" cy="738664"/>
          </a:xfrm>
        </p:spPr>
        <p:txBody>
          <a:bodyPr anchor="ctr"/>
          <a:lstStyle>
            <a:lvl1pPr>
              <a:spcAft>
                <a:spcPts val="0"/>
              </a:spcAft>
              <a:defRPr sz="1400">
                <a:latin typeface="+mj-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Наслідок</a:t>
            </a:r>
            <a:br>
              <a:rPr lang="uk-UA" dirty="0"/>
            </a:br>
            <a:r>
              <a:rPr lang="en-US" dirty="0"/>
              <a:t>e-Ukraine Bold</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0" name="Text Placeholder 10">
            <a:extLst>
              <a:ext uri="{FF2B5EF4-FFF2-40B4-BE49-F238E27FC236}">
                <a16:creationId xmlns:a16="http://schemas.microsoft.com/office/drawing/2014/main" id="{96E94FCA-586D-4CCF-9FD7-0C9B07E048E9}"/>
              </a:ext>
            </a:extLst>
          </p:cNvPr>
          <p:cNvSpPr>
            <a:spLocks noGrp="1"/>
          </p:cNvSpPr>
          <p:nvPr>
            <p:ph type="body" sz="quarter" idx="15" hasCustomPrompt="1"/>
          </p:nvPr>
        </p:nvSpPr>
        <p:spPr>
          <a:xfrm>
            <a:off x="2148840" y="4056005"/>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4</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1" name="Text Placeholder 10">
            <a:extLst>
              <a:ext uri="{FF2B5EF4-FFF2-40B4-BE49-F238E27FC236}">
                <a16:creationId xmlns:a16="http://schemas.microsoft.com/office/drawing/2014/main" id="{2974B596-1772-4E88-9DFC-95B12A18524B}"/>
              </a:ext>
            </a:extLst>
          </p:cNvPr>
          <p:cNvSpPr>
            <a:spLocks noGrp="1"/>
          </p:cNvSpPr>
          <p:nvPr>
            <p:ph type="body" sz="quarter" idx="16" hasCustomPrompt="1"/>
          </p:nvPr>
        </p:nvSpPr>
        <p:spPr>
          <a:xfrm>
            <a:off x="2148840" y="4988060"/>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5</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52" name="Text Placeholder 10">
            <a:extLst>
              <a:ext uri="{FF2B5EF4-FFF2-40B4-BE49-F238E27FC236}">
                <a16:creationId xmlns:a16="http://schemas.microsoft.com/office/drawing/2014/main" id="{ED00267D-520E-48EC-B3E6-CBFD24C93EA0}"/>
              </a:ext>
            </a:extLst>
          </p:cNvPr>
          <p:cNvSpPr>
            <a:spLocks noGrp="1"/>
          </p:cNvSpPr>
          <p:nvPr>
            <p:ph type="body" sz="quarter" idx="17" hasCustomPrompt="1"/>
          </p:nvPr>
        </p:nvSpPr>
        <p:spPr>
          <a:xfrm>
            <a:off x="2148840" y="5920116"/>
            <a:ext cx="3322956" cy="738664"/>
          </a:xfrm>
        </p:spPr>
        <p:txBody>
          <a:bodyPr anchor="ctr"/>
          <a:lstStyle>
            <a:lvl1pPr>
              <a:spcAft>
                <a:spcPts val="0"/>
              </a:spcAft>
              <a:defRPr sz="14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Причина 6</a:t>
            </a:r>
            <a:br>
              <a:rPr lang="uk-UA" dirty="0"/>
            </a:br>
            <a:r>
              <a:rPr lang="en-US" dirty="0"/>
              <a:t>e-Ukraine </a:t>
            </a:r>
            <a:r>
              <a:rPr lang="en-US" dirty="0" err="1"/>
              <a:t>UltraLight</a:t>
            </a:r>
            <a:r>
              <a:rPr lang="uk-UA" dirty="0"/>
              <a:t> </a:t>
            </a:r>
            <a:r>
              <a:rPr lang="en-US" dirty="0"/>
              <a:t>1</a:t>
            </a:r>
            <a:r>
              <a:rPr lang="uk-UA" dirty="0"/>
              <a:t>4</a:t>
            </a:r>
            <a:r>
              <a:rPr lang="en-US" dirty="0"/>
              <a:t> pt.</a:t>
            </a:r>
            <a:r>
              <a:rPr lang="uk-UA" dirty="0"/>
              <a:t/>
            </a:r>
            <a:br>
              <a:rPr lang="uk-UA" dirty="0"/>
            </a:br>
            <a:r>
              <a:rPr lang="uk-UA" dirty="0"/>
              <a:t>До 3 рядків</a:t>
            </a:r>
          </a:p>
        </p:txBody>
      </p:sp>
      <p:sp>
        <p:nvSpPr>
          <p:cNvPr id="47" name="Slide Number Placeholder 8">
            <a:extLst>
              <a:ext uri="{FF2B5EF4-FFF2-40B4-BE49-F238E27FC236}">
                <a16:creationId xmlns:a16="http://schemas.microsoft.com/office/drawing/2014/main" id="{F6D52C85-FE70-44BA-9043-F9565C901816}"/>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123876454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Причина–наслідок 4">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67910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7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695325" y="2340289"/>
            <a:ext cx="3143984" cy="818521"/>
          </a:xfrm>
        </p:spPr>
        <p:txBody>
          <a:bodyPr anchor="ctr"/>
          <a:lstStyle>
            <a:lvl1pPr>
              <a:spcAft>
                <a:spcPts val="0"/>
              </a:spcAft>
              <a:defRPr sz="1600">
                <a:solidFill>
                  <a:schemeClr val="accent2"/>
                </a:solidFill>
                <a:latin typeface="+mj-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Bold</a:t>
            </a:r>
            <a:r>
              <a:rPr lang="uk-UA" dirty="0"/>
              <a:t> </a:t>
            </a:r>
            <a:r>
              <a:rPr lang="en-US" dirty="0"/>
              <a:t>1</a:t>
            </a:r>
            <a:r>
              <a:rPr lang="uk-UA" dirty="0"/>
              <a:t>6</a:t>
            </a:r>
            <a:r>
              <a:rPr lang="en-US" dirty="0"/>
              <a:t> pt.</a:t>
            </a:r>
            <a:r>
              <a:rPr lang="uk-UA" dirty="0"/>
              <a:t/>
            </a:r>
            <a:br>
              <a:rPr lang="uk-UA" dirty="0"/>
            </a:br>
            <a:r>
              <a:rPr lang="uk-UA" dirty="0"/>
              <a:t>До 3 рядків</a:t>
            </a:r>
          </a:p>
        </p:txBody>
      </p:sp>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Причина–наслідок</a:t>
            </a:r>
            <a:r>
              <a:rPr lang="en-US" dirty="0"/>
              <a:t> </a:t>
            </a:r>
            <a:r>
              <a:rPr lang="uk-UA" dirty="0"/>
              <a:t>4</a:t>
            </a:r>
            <a:endParaRPr lang="en-US" dirty="0"/>
          </a:p>
        </p:txBody>
      </p:sp>
      <p:sp>
        <p:nvSpPr>
          <p:cNvPr id="42" name="Text Placeholder 5">
            <a:extLst>
              <a:ext uri="{FF2B5EF4-FFF2-40B4-BE49-F238E27FC236}">
                <a16:creationId xmlns:a16="http://schemas.microsoft.com/office/drawing/2014/main" id="{6F337BAB-0D7C-464D-A096-593F472D7E71}"/>
              </a:ext>
            </a:extLst>
          </p:cNvPr>
          <p:cNvSpPr>
            <a:spLocks noGrp="1"/>
          </p:cNvSpPr>
          <p:nvPr>
            <p:ph type="body" sz="quarter" idx="18" hasCustomPrompt="1"/>
          </p:nvPr>
        </p:nvSpPr>
        <p:spPr>
          <a:xfrm>
            <a:off x="695324" y="3249876"/>
            <a:ext cx="3143983" cy="2865174"/>
          </a:xfrm>
        </p:spPr>
        <p:txBody>
          <a:bodyPr/>
          <a:lstStyle>
            <a:lvl1pPr marL="104775" indent="-104775">
              <a:buClr>
                <a:schemeClr val="accent2"/>
              </a:buClr>
              <a:buFont typeface="Arial" panose="020B0604020202020204" pitchFamily="34" charset="0"/>
              <a:buChar char="•"/>
              <a:defRPr sz="16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Пункт 1</a:t>
            </a:r>
          </a:p>
          <a:p>
            <a:pPr lvl="0"/>
            <a:r>
              <a:rPr lang="uk-UA" dirty="0"/>
              <a:t>Пункт 2</a:t>
            </a:r>
          </a:p>
          <a:p>
            <a:pPr lvl="0"/>
            <a:r>
              <a:rPr lang="uk-UA" dirty="0"/>
              <a:t>Пункт 3</a:t>
            </a:r>
          </a:p>
          <a:p>
            <a:pPr lvl="0"/>
            <a:r>
              <a:rPr lang="uk-UA" dirty="0"/>
              <a:t>Пункт 4</a:t>
            </a:r>
          </a:p>
          <a:p>
            <a:pPr lvl="0"/>
            <a:r>
              <a:rPr lang="uk-UA" dirty="0"/>
              <a:t>Пункт 5</a:t>
            </a:r>
            <a:endParaRPr lang="en-US" dirty="0"/>
          </a:p>
        </p:txBody>
      </p:sp>
      <p:sp>
        <p:nvSpPr>
          <p:cNvPr id="47" name="Text Placeholder 10">
            <a:extLst>
              <a:ext uri="{FF2B5EF4-FFF2-40B4-BE49-F238E27FC236}">
                <a16:creationId xmlns:a16="http://schemas.microsoft.com/office/drawing/2014/main" id="{974F29DA-51AC-4D5F-AA58-C3930D6B8BFD}"/>
              </a:ext>
            </a:extLst>
          </p:cNvPr>
          <p:cNvSpPr>
            <a:spLocks noGrp="1"/>
          </p:cNvSpPr>
          <p:nvPr>
            <p:ph type="body" sz="quarter" idx="19" hasCustomPrompt="1"/>
          </p:nvPr>
        </p:nvSpPr>
        <p:spPr>
          <a:xfrm>
            <a:off x="4541113" y="2340289"/>
            <a:ext cx="3143984" cy="818521"/>
          </a:xfrm>
        </p:spPr>
        <p:txBody>
          <a:bodyPr anchor="ctr"/>
          <a:lstStyle>
            <a:lvl1pPr>
              <a:spcAft>
                <a:spcPts val="0"/>
              </a:spcAft>
              <a:defRPr sz="1600">
                <a:solidFill>
                  <a:schemeClr val="accent2"/>
                </a:solidFill>
                <a:latin typeface="+mj-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Bold</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48" name="Text Placeholder 5">
            <a:extLst>
              <a:ext uri="{FF2B5EF4-FFF2-40B4-BE49-F238E27FC236}">
                <a16:creationId xmlns:a16="http://schemas.microsoft.com/office/drawing/2014/main" id="{96BE3374-237D-456C-B303-1CF08880036F}"/>
              </a:ext>
            </a:extLst>
          </p:cNvPr>
          <p:cNvSpPr>
            <a:spLocks noGrp="1"/>
          </p:cNvSpPr>
          <p:nvPr>
            <p:ph type="body" sz="quarter" idx="20" hasCustomPrompt="1"/>
          </p:nvPr>
        </p:nvSpPr>
        <p:spPr>
          <a:xfrm>
            <a:off x="4541112" y="3249876"/>
            <a:ext cx="3143983" cy="2865174"/>
          </a:xfrm>
        </p:spPr>
        <p:txBody>
          <a:bodyPr/>
          <a:lstStyle>
            <a:lvl1pPr marL="104775" indent="-104775">
              <a:buClr>
                <a:schemeClr val="accent2"/>
              </a:buClr>
              <a:buFont typeface="Arial" panose="020B0604020202020204" pitchFamily="34" charset="0"/>
              <a:buChar char="•"/>
              <a:defRPr sz="16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Пункт 1</a:t>
            </a:r>
          </a:p>
          <a:p>
            <a:pPr lvl="0"/>
            <a:r>
              <a:rPr lang="uk-UA" dirty="0"/>
              <a:t>Пункт 2</a:t>
            </a:r>
          </a:p>
          <a:p>
            <a:pPr lvl="0"/>
            <a:r>
              <a:rPr lang="uk-UA" dirty="0"/>
              <a:t>Пункт 3</a:t>
            </a:r>
          </a:p>
          <a:p>
            <a:pPr lvl="0"/>
            <a:r>
              <a:rPr lang="uk-UA" dirty="0"/>
              <a:t>Пункт 4</a:t>
            </a:r>
          </a:p>
          <a:p>
            <a:pPr lvl="0"/>
            <a:r>
              <a:rPr lang="uk-UA" dirty="0"/>
              <a:t>Пункт 5</a:t>
            </a:r>
            <a:endParaRPr lang="en-US" dirty="0"/>
          </a:p>
        </p:txBody>
      </p:sp>
      <p:sp>
        <p:nvSpPr>
          <p:cNvPr id="51" name="Text Placeholder 10">
            <a:extLst>
              <a:ext uri="{FF2B5EF4-FFF2-40B4-BE49-F238E27FC236}">
                <a16:creationId xmlns:a16="http://schemas.microsoft.com/office/drawing/2014/main" id="{3F381E11-314D-4636-A946-AD340AEEAFB9}"/>
              </a:ext>
            </a:extLst>
          </p:cNvPr>
          <p:cNvSpPr>
            <a:spLocks noGrp="1"/>
          </p:cNvSpPr>
          <p:nvPr>
            <p:ph type="body" sz="quarter" idx="21" hasCustomPrompt="1"/>
          </p:nvPr>
        </p:nvSpPr>
        <p:spPr>
          <a:xfrm>
            <a:off x="8366558" y="2340289"/>
            <a:ext cx="3143984" cy="818521"/>
          </a:xfrm>
        </p:spPr>
        <p:txBody>
          <a:bodyPr anchor="ctr"/>
          <a:lstStyle>
            <a:lvl1pPr>
              <a:spcAft>
                <a:spcPts val="0"/>
              </a:spcAft>
              <a:defRPr sz="1600">
                <a:solidFill>
                  <a:schemeClr val="accent2"/>
                </a:solidFill>
                <a:latin typeface="+mj-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Bold</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52" name="Text Placeholder 5">
            <a:extLst>
              <a:ext uri="{FF2B5EF4-FFF2-40B4-BE49-F238E27FC236}">
                <a16:creationId xmlns:a16="http://schemas.microsoft.com/office/drawing/2014/main" id="{CEF04C4B-DEE3-4B1B-8B90-542F66F64195}"/>
              </a:ext>
            </a:extLst>
          </p:cNvPr>
          <p:cNvSpPr>
            <a:spLocks noGrp="1"/>
          </p:cNvSpPr>
          <p:nvPr>
            <p:ph type="body" sz="quarter" idx="22" hasCustomPrompt="1"/>
          </p:nvPr>
        </p:nvSpPr>
        <p:spPr>
          <a:xfrm>
            <a:off x="8366557" y="3249876"/>
            <a:ext cx="3143983" cy="2865174"/>
          </a:xfrm>
        </p:spPr>
        <p:txBody>
          <a:bodyPr/>
          <a:lstStyle>
            <a:lvl1pPr marL="104775" indent="-104775">
              <a:buClr>
                <a:schemeClr val="accent2"/>
              </a:buClr>
              <a:buFont typeface="Arial" panose="020B0604020202020204" pitchFamily="34" charset="0"/>
              <a:buChar char="•"/>
              <a:defRPr sz="16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Пункт 1</a:t>
            </a:r>
          </a:p>
          <a:p>
            <a:pPr lvl="0"/>
            <a:r>
              <a:rPr lang="uk-UA" dirty="0"/>
              <a:t>Пункт 2</a:t>
            </a:r>
          </a:p>
          <a:p>
            <a:pPr lvl="0"/>
            <a:r>
              <a:rPr lang="uk-UA" dirty="0"/>
              <a:t>Пункт 3</a:t>
            </a:r>
          </a:p>
          <a:p>
            <a:pPr lvl="0"/>
            <a:r>
              <a:rPr lang="uk-UA" dirty="0"/>
              <a:t>Пункт 4</a:t>
            </a:r>
          </a:p>
          <a:p>
            <a:pPr lvl="0"/>
            <a:r>
              <a:rPr lang="uk-UA" dirty="0"/>
              <a:t>Пункт 5</a:t>
            </a:r>
            <a:endParaRPr lang="en-US" dirty="0"/>
          </a:p>
        </p:txBody>
      </p:sp>
      <p:sp>
        <p:nvSpPr>
          <p:cNvPr id="44" name="Slide Number Placeholder 8">
            <a:extLst>
              <a:ext uri="{FF2B5EF4-FFF2-40B4-BE49-F238E27FC236}">
                <a16:creationId xmlns:a16="http://schemas.microsoft.com/office/drawing/2014/main" id="{C0E123E8-AF0D-4A29-BCD9-FD4D49DC22F8}"/>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160743599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Main Points 2">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21130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D32FD40-7671-43E7-B914-22903CE07076}"/>
              </a:ext>
            </a:extLst>
          </p:cNvPr>
          <p:cNvSpPr>
            <a:spLocks noGrp="1"/>
          </p:cNvSpPr>
          <p:nvPr>
            <p:ph type="body" sz="quarter" idx="10" hasCustomPrompt="1"/>
          </p:nvPr>
        </p:nvSpPr>
        <p:spPr>
          <a:xfrm>
            <a:off x="695325" y="2807137"/>
            <a:ext cx="2471324" cy="528637"/>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Bold 16 pt.</a:t>
            </a:r>
          </a:p>
        </p:txBody>
      </p:sp>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695326" y="3361174"/>
            <a:ext cx="2471324" cy="2557026"/>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пункту.</a:t>
            </a:r>
            <a:r>
              <a:rPr lang="en-US" dirty="0"/>
              <a:t/>
            </a:r>
            <a:br>
              <a:rPr lang="en-US" dirty="0"/>
            </a:br>
            <a:r>
              <a:rPr lang="en-US" dirty="0"/>
              <a:t>e-Ukraine </a:t>
            </a:r>
            <a:r>
              <a:rPr lang="en-US" dirty="0" err="1"/>
              <a:t>UltraLight</a:t>
            </a:r>
            <a:r>
              <a:rPr lang="en-US" dirty="0"/>
              <a:t> 16 pt.</a:t>
            </a:r>
          </a:p>
        </p:txBody>
      </p:sp>
      <p:sp>
        <p:nvSpPr>
          <p:cNvPr id="12" name="Text Placeholder 6">
            <a:extLst>
              <a:ext uri="{FF2B5EF4-FFF2-40B4-BE49-F238E27FC236}">
                <a16:creationId xmlns:a16="http://schemas.microsoft.com/office/drawing/2014/main" id="{8ABA53F3-5EDC-482E-818B-7B1914266E41}"/>
              </a:ext>
            </a:extLst>
          </p:cNvPr>
          <p:cNvSpPr>
            <a:spLocks noGrp="1"/>
          </p:cNvSpPr>
          <p:nvPr>
            <p:ph type="body" sz="quarter" idx="12" hasCustomPrompt="1"/>
          </p:nvPr>
        </p:nvSpPr>
        <p:spPr>
          <a:xfrm>
            <a:off x="3484998" y="2807137"/>
            <a:ext cx="2471324" cy="528637"/>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Bold 16 pt.</a:t>
            </a:r>
          </a:p>
        </p:txBody>
      </p:sp>
      <p:sp>
        <p:nvSpPr>
          <p:cNvPr id="19" name="Text Placeholder 10">
            <a:extLst>
              <a:ext uri="{FF2B5EF4-FFF2-40B4-BE49-F238E27FC236}">
                <a16:creationId xmlns:a16="http://schemas.microsoft.com/office/drawing/2014/main" id="{0687A6C4-1D5D-4AFB-9C0F-B92655E085DC}"/>
              </a:ext>
            </a:extLst>
          </p:cNvPr>
          <p:cNvSpPr>
            <a:spLocks noGrp="1"/>
          </p:cNvSpPr>
          <p:nvPr>
            <p:ph type="body" sz="quarter" idx="13" hasCustomPrompt="1"/>
          </p:nvPr>
        </p:nvSpPr>
        <p:spPr>
          <a:xfrm>
            <a:off x="3484999" y="3361174"/>
            <a:ext cx="2471324" cy="2557026"/>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пункту.</a:t>
            </a:r>
            <a:r>
              <a:rPr lang="en-US" dirty="0"/>
              <a:t/>
            </a:r>
            <a:br>
              <a:rPr lang="en-US" dirty="0"/>
            </a:br>
            <a:r>
              <a:rPr lang="en-US" dirty="0"/>
              <a:t>e-Ukraine </a:t>
            </a:r>
            <a:r>
              <a:rPr lang="en-US" dirty="0" err="1"/>
              <a:t>UltraLight</a:t>
            </a:r>
            <a:r>
              <a:rPr lang="en-US" dirty="0"/>
              <a:t> 16 pt.</a:t>
            </a:r>
          </a:p>
        </p:txBody>
      </p:sp>
      <p:sp>
        <p:nvSpPr>
          <p:cNvPr id="20" name="Text Placeholder 6">
            <a:extLst>
              <a:ext uri="{FF2B5EF4-FFF2-40B4-BE49-F238E27FC236}">
                <a16:creationId xmlns:a16="http://schemas.microsoft.com/office/drawing/2014/main" id="{8E7B5A84-AF34-42C8-8171-3F120F294ABE}"/>
              </a:ext>
            </a:extLst>
          </p:cNvPr>
          <p:cNvSpPr>
            <a:spLocks noGrp="1"/>
          </p:cNvSpPr>
          <p:nvPr>
            <p:ph type="body" sz="quarter" idx="14" hasCustomPrompt="1"/>
          </p:nvPr>
        </p:nvSpPr>
        <p:spPr>
          <a:xfrm>
            <a:off x="6261973" y="2807137"/>
            <a:ext cx="2471324" cy="528637"/>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Bold 16 pt.</a:t>
            </a:r>
          </a:p>
        </p:txBody>
      </p:sp>
      <p:sp>
        <p:nvSpPr>
          <p:cNvPr id="21" name="Text Placeholder 10">
            <a:extLst>
              <a:ext uri="{FF2B5EF4-FFF2-40B4-BE49-F238E27FC236}">
                <a16:creationId xmlns:a16="http://schemas.microsoft.com/office/drawing/2014/main" id="{81680068-E88F-4A21-BA84-D98EDDDB0CC8}"/>
              </a:ext>
            </a:extLst>
          </p:cNvPr>
          <p:cNvSpPr>
            <a:spLocks noGrp="1"/>
          </p:cNvSpPr>
          <p:nvPr>
            <p:ph type="body" sz="quarter" idx="15" hasCustomPrompt="1"/>
          </p:nvPr>
        </p:nvSpPr>
        <p:spPr>
          <a:xfrm>
            <a:off x="6261974" y="3361174"/>
            <a:ext cx="2471324" cy="2557026"/>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пункту.</a:t>
            </a:r>
            <a:r>
              <a:rPr lang="en-US" dirty="0"/>
              <a:t/>
            </a:r>
            <a:br>
              <a:rPr lang="en-US" dirty="0"/>
            </a:br>
            <a:r>
              <a:rPr lang="en-US" dirty="0"/>
              <a:t>e-Ukraine </a:t>
            </a:r>
            <a:r>
              <a:rPr lang="en-US" dirty="0" err="1"/>
              <a:t>UltraLight</a:t>
            </a:r>
            <a:r>
              <a:rPr lang="en-US" dirty="0"/>
              <a:t> 16 pt.</a:t>
            </a:r>
          </a:p>
        </p:txBody>
      </p:sp>
      <p:sp>
        <p:nvSpPr>
          <p:cNvPr id="22" name="Text Placeholder 6">
            <a:extLst>
              <a:ext uri="{FF2B5EF4-FFF2-40B4-BE49-F238E27FC236}">
                <a16:creationId xmlns:a16="http://schemas.microsoft.com/office/drawing/2014/main" id="{BB1397A8-7536-41B5-8D18-6D0434C5A5D9}"/>
              </a:ext>
            </a:extLst>
          </p:cNvPr>
          <p:cNvSpPr>
            <a:spLocks noGrp="1"/>
          </p:cNvSpPr>
          <p:nvPr>
            <p:ph type="body" sz="quarter" idx="16" hasCustomPrompt="1"/>
          </p:nvPr>
        </p:nvSpPr>
        <p:spPr>
          <a:xfrm>
            <a:off x="9024616" y="2807137"/>
            <a:ext cx="2471324" cy="528637"/>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Bold 16 pt.</a:t>
            </a:r>
          </a:p>
        </p:txBody>
      </p:sp>
      <p:sp>
        <p:nvSpPr>
          <p:cNvPr id="23" name="Text Placeholder 10">
            <a:extLst>
              <a:ext uri="{FF2B5EF4-FFF2-40B4-BE49-F238E27FC236}">
                <a16:creationId xmlns:a16="http://schemas.microsoft.com/office/drawing/2014/main" id="{4C944364-01DD-457A-8A78-866E119690B8}"/>
              </a:ext>
            </a:extLst>
          </p:cNvPr>
          <p:cNvSpPr>
            <a:spLocks noGrp="1"/>
          </p:cNvSpPr>
          <p:nvPr>
            <p:ph type="body" sz="quarter" idx="17" hasCustomPrompt="1"/>
          </p:nvPr>
        </p:nvSpPr>
        <p:spPr>
          <a:xfrm>
            <a:off x="9024617" y="3361174"/>
            <a:ext cx="2471324" cy="2557026"/>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пункту.</a:t>
            </a:r>
            <a:r>
              <a:rPr lang="en-US" dirty="0"/>
              <a:t/>
            </a:r>
            <a:br>
              <a:rPr lang="en-US" dirty="0"/>
            </a:br>
            <a:r>
              <a:rPr lang="en-US" dirty="0"/>
              <a:t>e-Ukraine </a:t>
            </a:r>
            <a:r>
              <a:rPr lang="en-US" dirty="0" err="1"/>
              <a:t>UltraLight</a:t>
            </a:r>
            <a:r>
              <a:rPr lang="en-US" dirty="0"/>
              <a:t> 16 pt.</a:t>
            </a:r>
          </a:p>
        </p:txBody>
      </p:sp>
      <p:grpSp>
        <p:nvGrpSpPr>
          <p:cNvPr id="15" name="Group 14">
            <a:extLst>
              <a:ext uri="{FF2B5EF4-FFF2-40B4-BE49-F238E27FC236}">
                <a16:creationId xmlns:a16="http://schemas.microsoft.com/office/drawing/2014/main" id="{6417FA19-195F-4D08-A9EE-2D6C8C23F459}"/>
              </a:ext>
            </a:extLst>
          </p:cNvPr>
          <p:cNvGrpSpPr/>
          <p:nvPr userDrawn="1"/>
        </p:nvGrpSpPr>
        <p:grpSpPr>
          <a:xfrm>
            <a:off x="0" y="209380"/>
            <a:ext cx="12192000" cy="900000"/>
            <a:chOff x="0" y="209380"/>
            <a:chExt cx="12192000" cy="900000"/>
          </a:xfrm>
        </p:grpSpPr>
        <p:sp>
          <p:nvSpPr>
            <p:cNvPr id="16" name="Freeform: Shape 15">
              <a:extLst>
                <a:ext uri="{FF2B5EF4-FFF2-40B4-BE49-F238E27FC236}">
                  <a16:creationId xmlns:a16="http://schemas.microsoft.com/office/drawing/2014/main" id="{2A2A96A0-939F-46D2-BF81-BD4D7E353EE8}"/>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17" name="Graphic 22">
              <a:extLst>
                <a:ext uri="{FF2B5EF4-FFF2-40B4-BE49-F238E27FC236}">
                  <a16:creationId xmlns:a16="http://schemas.microsoft.com/office/drawing/2014/main" id="{DB4C03D2-68A4-4DAA-9BA7-E14A73D19F3D}"/>
                </a:ext>
              </a:extLst>
            </p:cNvPr>
            <p:cNvGrpSpPr/>
            <p:nvPr/>
          </p:nvGrpSpPr>
          <p:grpSpPr>
            <a:xfrm>
              <a:off x="10915649" y="368867"/>
              <a:ext cx="581025" cy="581025"/>
              <a:chOff x="11049699" y="311944"/>
              <a:chExt cx="446976" cy="446976"/>
            </a:xfrm>
          </p:grpSpPr>
          <p:sp>
            <p:nvSpPr>
              <p:cNvPr id="18" name="Freeform: Shape 17">
                <a:extLst>
                  <a:ext uri="{FF2B5EF4-FFF2-40B4-BE49-F238E27FC236}">
                    <a16:creationId xmlns:a16="http://schemas.microsoft.com/office/drawing/2014/main" id="{A6CED6EB-6C1F-4E7E-B4F6-08314383C07A}"/>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A0A1F0F3-65FE-45AA-A14D-724F0B7A2E57}"/>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0B491DF4-CE9B-4DE3-89F0-AD30EFFC3252}"/>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BC2D084E-71A6-4AB3-B27C-EC430F58B228}"/>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1D96E1F3-3593-4997-9C50-DCD915C735E7}"/>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089976A9-1434-48A0-9B2F-FD0EBB5BC2DF}"/>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04ED2E0E-1F2D-4059-B8D8-405CC6566038}"/>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3E838DBE-F7A8-42EE-B60B-09752EEE5F2C}"/>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E5CDBC0F-12F9-4A96-AB68-826AB88C0F02}"/>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C043957C-95A8-46CF-8F0C-5A567424A11D}"/>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A353CA09-257B-46C4-9411-139722EB4765}"/>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C03FDCB5-19E8-492E-8797-5C4BF4389740}"/>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441CAED2-DBD3-4291-9364-412594BB545D}"/>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71E8AA0F-0CB6-4A46-A9C2-005C97DF7C28}"/>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A856ED06-613E-4289-9F4F-076FEA511234}"/>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E278A93E-8E7B-478B-9A26-3FDA34DBEBF1}"/>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D8B5CA79-C781-438B-9A0C-67D3893FDF53}"/>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9ABD1087-D129-4E8D-8572-09C5A6999EC4}"/>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1" name="Title 11">
            <a:extLst>
              <a:ext uri="{FF2B5EF4-FFF2-40B4-BE49-F238E27FC236}">
                <a16:creationId xmlns:a16="http://schemas.microsoft.com/office/drawing/2014/main" id="{FE738821-049E-497F-9EB0-DBB760EC8E77}"/>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en-US" dirty="0"/>
              <a:t>3-4 </a:t>
            </a:r>
            <a:r>
              <a:rPr lang="uk-UA" dirty="0"/>
              <a:t>ключові пункти. 2</a:t>
            </a:r>
            <a:endParaRPr lang="en-US" dirty="0"/>
          </a:p>
        </p:txBody>
      </p:sp>
      <p:sp>
        <p:nvSpPr>
          <p:cNvPr id="48" name="Slide Number Placeholder 8">
            <a:extLst>
              <a:ext uri="{FF2B5EF4-FFF2-40B4-BE49-F238E27FC236}">
                <a16:creationId xmlns:a16="http://schemas.microsoft.com/office/drawing/2014/main" id="{EB5251EB-B1D5-4170-A8B3-0F25343F3BAE}"/>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60868620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Фото + Текст">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61831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3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D32FD40-7671-43E7-B914-22903CE07076}"/>
              </a:ext>
            </a:extLst>
          </p:cNvPr>
          <p:cNvSpPr>
            <a:spLocks noGrp="1"/>
          </p:cNvSpPr>
          <p:nvPr>
            <p:ph type="body" sz="quarter" idx="10" hasCustomPrompt="1"/>
          </p:nvPr>
        </p:nvSpPr>
        <p:spPr>
          <a:xfrm>
            <a:off x="5486400" y="1366072"/>
            <a:ext cx="6010276" cy="528637"/>
          </a:xfrm>
        </p:spPr>
        <p:txBody>
          <a:bodyPr/>
          <a:lstStyle>
            <a:lvl1pPr>
              <a:spcAft>
                <a:spcPts val="0"/>
              </a:spcAft>
              <a:defRPr sz="18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До 2 рядків</a:t>
            </a:r>
          </a:p>
          <a:p>
            <a:pPr lvl="0"/>
            <a:r>
              <a:rPr lang="en-US" dirty="0"/>
              <a:t>e-Ukraine Bold 18 pt.</a:t>
            </a:r>
          </a:p>
        </p:txBody>
      </p:sp>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5486399" y="2057400"/>
            <a:ext cx="6010276" cy="4354292"/>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Текст. </a:t>
            </a:r>
            <a:r>
              <a:rPr lang="en-US" dirty="0"/>
              <a:t>e-Ukraine </a:t>
            </a:r>
            <a:r>
              <a:rPr lang="en-US" dirty="0" err="1"/>
              <a:t>UltraLight</a:t>
            </a:r>
            <a:r>
              <a:rPr lang="en-US" dirty="0"/>
              <a:t> </a:t>
            </a:r>
            <a:r>
              <a:rPr lang="uk-UA" dirty="0"/>
              <a:t>1</a:t>
            </a:r>
            <a:r>
              <a:rPr lang="en-US" dirty="0"/>
              <a:t>6 pt.</a:t>
            </a:r>
          </a:p>
        </p:txBody>
      </p:sp>
      <p:sp>
        <p:nvSpPr>
          <p:cNvPr id="4" name="Picture Placeholder 3">
            <a:extLst>
              <a:ext uri="{FF2B5EF4-FFF2-40B4-BE49-F238E27FC236}">
                <a16:creationId xmlns:a16="http://schemas.microsoft.com/office/drawing/2014/main" id="{85FCA688-535B-49BB-840B-7A410928B72A}"/>
              </a:ext>
            </a:extLst>
          </p:cNvPr>
          <p:cNvSpPr>
            <a:spLocks noGrp="1"/>
          </p:cNvSpPr>
          <p:nvPr>
            <p:ph type="pic" sz="quarter" idx="12" hasCustomPrompt="1"/>
          </p:nvPr>
        </p:nvSpPr>
        <p:spPr>
          <a:xfrm>
            <a:off x="695325" y="1369415"/>
            <a:ext cx="4419600" cy="5042498"/>
          </a:xfrm>
        </p:spPr>
        <p:txBody>
          <a:bodyPr/>
          <a:lstStyle>
            <a:lvl1pPr>
              <a:defRPr sz="2800">
                <a:latin typeface="+mj-lt"/>
              </a:defRPr>
            </a:lvl1pPr>
          </a:lstStyle>
          <a:p>
            <a:r>
              <a:rPr lang="uk-UA" dirty="0"/>
              <a:t>Фото</a:t>
            </a:r>
          </a:p>
        </p:txBody>
      </p:sp>
      <p:grpSp>
        <p:nvGrpSpPr>
          <p:cNvPr id="36" name="Group 35">
            <a:extLst>
              <a:ext uri="{FF2B5EF4-FFF2-40B4-BE49-F238E27FC236}">
                <a16:creationId xmlns:a16="http://schemas.microsoft.com/office/drawing/2014/main" id="{2425A9F6-B56A-4881-B687-874ECED8693C}"/>
              </a:ext>
            </a:extLst>
          </p:cNvPr>
          <p:cNvGrpSpPr/>
          <p:nvPr userDrawn="1"/>
        </p:nvGrpSpPr>
        <p:grpSpPr>
          <a:xfrm>
            <a:off x="0" y="209380"/>
            <a:ext cx="12192000" cy="900000"/>
            <a:chOff x="0" y="209380"/>
            <a:chExt cx="12192000" cy="900000"/>
          </a:xfrm>
        </p:grpSpPr>
        <p:sp>
          <p:nvSpPr>
            <p:cNvPr id="37" name="Freeform: Shape 36">
              <a:extLst>
                <a:ext uri="{FF2B5EF4-FFF2-40B4-BE49-F238E27FC236}">
                  <a16:creationId xmlns:a16="http://schemas.microsoft.com/office/drawing/2014/main" id="{F1187304-AF97-40D7-803F-8A1964FAD222}"/>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39" name="Graphic 22">
              <a:extLst>
                <a:ext uri="{FF2B5EF4-FFF2-40B4-BE49-F238E27FC236}">
                  <a16:creationId xmlns:a16="http://schemas.microsoft.com/office/drawing/2014/main" id="{7369E937-618C-4011-8983-51AB7C8CC5E6}"/>
                </a:ext>
              </a:extLst>
            </p:cNvPr>
            <p:cNvGrpSpPr/>
            <p:nvPr/>
          </p:nvGrpSpPr>
          <p:grpSpPr>
            <a:xfrm>
              <a:off x="10915649" y="368867"/>
              <a:ext cx="581025" cy="581025"/>
              <a:chOff x="11049699" y="311944"/>
              <a:chExt cx="446976" cy="446976"/>
            </a:xfrm>
          </p:grpSpPr>
          <p:sp>
            <p:nvSpPr>
              <p:cNvPr id="60" name="Freeform: Shape 59">
                <a:extLst>
                  <a:ext uri="{FF2B5EF4-FFF2-40B4-BE49-F238E27FC236}">
                    <a16:creationId xmlns:a16="http://schemas.microsoft.com/office/drawing/2014/main" id="{C3E030D9-9BDF-49E7-A2DB-75073C5D41D3}"/>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1" name="Freeform: Shape 60">
                <a:extLst>
                  <a:ext uri="{FF2B5EF4-FFF2-40B4-BE49-F238E27FC236}">
                    <a16:creationId xmlns:a16="http://schemas.microsoft.com/office/drawing/2014/main" id="{24C48117-576E-4CE2-81C2-946FBB93AE61}"/>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2" name="Freeform: Shape 61">
                <a:extLst>
                  <a:ext uri="{FF2B5EF4-FFF2-40B4-BE49-F238E27FC236}">
                    <a16:creationId xmlns:a16="http://schemas.microsoft.com/office/drawing/2014/main" id="{CF829E53-7D8F-4DE3-86FE-2F3DA1EDC455}"/>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3" name="Freeform: Shape 62">
                <a:extLst>
                  <a:ext uri="{FF2B5EF4-FFF2-40B4-BE49-F238E27FC236}">
                    <a16:creationId xmlns:a16="http://schemas.microsoft.com/office/drawing/2014/main" id="{B2955B57-202C-49D4-B8AF-E89510F14B1A}"/>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64" name="Freeform: Shape 63">
                <a:extLst>
                  <a:ext uri="{FF2B5EF4-FFF2-40B4-BE49-F238E27FC236}">
                    <a16:creationId xmlns:a16="http://schemas.microsoft.com/office/drawing/2014/main" id="{B891B295-9DB1-43E5-B58E-4B8CF77EC6EB}"/>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65" name="Freeform: Shape 64">
                <a:extLst>
                  <a:ext uri="{FF2B5EF4-FFF2-40B4-BE49-F238E27FC236}">
                    <a16:creationId xmlns:a16="http://schemas.microsoft.com/office/drawing/2014/main" id="{1D4CAE6A-BDBD-4951-A52B-8975A977DDD5}"/>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66" name="Freeform: Shape 65">
                <a:extLst>
                  <a:ext uri="{FF2B5EF4-FFF2-40B4-BE49-F238E27FC236}">
                    <a16:creationId xmlns:a16="http://schemas.microsoft.com/office/drawing/2014/main" id="{943A9DE2-18C7-4A29-A0A3-DE068104769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7" name="Freeform: Shape 66">
                <a:extLst>
                  <a:ext uri="{FF2B5EF4-FFF2-40B4-BE49-F238E27FC236}">
                    <a16:creationId xmlns:a16="http://schemas.microsoft.com/office/drawing/2014/main" id="{B3C77E3F-3BAE-41A1-BD83-2BAC9ED9E7BA}"/>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8" name="Freeform: Shape 67">
                <a:extLst>
                  <a:ext uri="{FF2B5EF4-FFF2-40B4-BE49-F238E27FC236}">
                    <a16:creationId xmlns:a16="http://schemas.microsoft.com/office/drawing/2014/main" id="{06FC1EBA-5671-4625-8CDA-D9514BF7CC36}"/>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69" name="Freeform: Shape 68">
                <a:extLst>
                  <a:ext uri="{FF2B5EF4-FFF2-40B4-BE49-F238E27FC236}">
                    <a16:creationId xmlns:a16="http://schemas.microsoft.com/office/drawing/2014/main" id="{7BFF04D4-50C3-496B-B136-7C702D3B6DBC}"/>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70" name="Freeform: Shape 69">
                <a:extLst>
                  <a:ext uri="{FF2B5EF4-FFF2-40B4-BE49-F238E27FC236}">
                    <a16:creationId xmlns:a16="http://schemas.microsoft.com/office/drawing/2014/main" id="{5CA6E9F3-A63A-4416-A891-63CED6F28FD9}"/>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71" name="Freeform: Shape 70">
                <a:extLst>
                  <a:ext uri="{FF2B5EF4-FFF2-40B4-BE49-F238E27FC236}">
                    <a16:creationId xmlns:a16="http://schemas.microsoft.com/office/drawing/2014/main" id="{F4DB058A-939A-494A-AC51-BAF87EDA3783}"/>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72" name="Freeform: Shape 71">
                <a:extLst>
                  <a:ext uri="{FF2B5EF4-FFF2-40B4-BE49-F238E27FC236}">
                    <a16:creationId xmlns:a16="http://schemas.microsoft.com/office/drawing/2014/main" id="{E4CD844A-1949-4856-9CAC-20F2A60772EF}"/>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73" name="Freeform: Shape 72">
                <a:extLst>
                  <a:ext uri="{FF2B5EF4-FFF2-40B4-BE49-F238E27FC236}">
                    <a16:creationId xmlns:a16="http://schemas.microsoft.com/office/drawing/2014/main" id="{9116BB78-853E-4316-95D7-BD00010CDB2E}"/>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74" name="Freeform: Shape 73">
                <a:extLst>
                  <a:ext uri="{FF2B5EF4-FFF2-40B4-BE49-F238E27FC236}">
                    <a16:creationId xmlns:a16="http://schemas.microsoft.com/office/drawing/2014/main" id="{8C43EEC7-531F-40D6-B3A5-F74A89F6EEE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75" name="Freeform: Shape 74">
                <a:extLst>
                  <a:ext uri="{FF2B5EF4-FFF2-40B4-BE49-F238E27FC236}">
                    <a16:creationId xmlns:a16="http://schemas.microsoft.com/office/drawing/2014/main" id="{93651F2F-168A-45D4-8DF2-65D17A87722D}"/>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76" name="Freeform: Shape 75">
                <a:extLst>
                  <a:ext uri="{FF2B5EF4-FFF2-40B4-BE49-F238E27FC236}">
                    <a16:creationId xmlns:a16="http://schemas.microsoft.com/office/drawing/2014/main" id="{6188277B-76FD-42A4-ACB1-10A7B038DBF4}"/>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77" name="Freeform: Shape 76">
                <a:extLst>
                  <a:ext uri="{FF2B5EF4-FFF2-40B4-BE49-F238E27FC236}">
                    <a16:creationId xmlns:a16="http://schemas.microsoft.com/office/drawing/2014/main" id="{3FA83D3D-122D-4A8E-BA68-BCCC54567CB8}"/>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78" name="Title 11">
            <a:extLst>
              <a:ext uri="{FF2B5EF4-FFF2-40B4-BE49-F238E27FC236}">
                <a16:creationId xmlns:a16="http://schemas.microsoft.com/office/drawing/2014/main" id="{E75C942F-5D04-468B-AE22-FBD9E0148D15}"/>
              </a:ext>
            </a:extLst>
          </p:cNvPr>
          <p:cNvSpPr>
            <a:spLocks noGrp="1"/>
          </p:cNvSpPr>
          <p:nvPr>
            <p:ph type="title" hasCustomPrompt="1"/>
          </p:nvPr>
        </p:nvSpPr>
        <p:spPr>
          <a:xfrm>
            <a:off x="609601" y="469415"/>
            <a:ext cx="9143999" cy="389715"/>
          </a:xfrm>
        </p:spPr>
        <p:txBody>
          <a:bodyPr anchor="ctr"/>
          <a:lstStyle>
            <a:lvl1pPr algn="l">
              <a:lnSpc>
                <a:spcPct val="80000"/>
              </a:lnSpc>
              <a:defRPr sz="3000">
                <a:latin typeface="e-Ukraine Bold" panose="00000800000000000000" pitchFamily="50" charset="0"/>
              </a:defRPr>
            </a:lvl1pPr>
          </a:lstStyle>
          <a:p>
            <a:r>
              <a:rPr lang="uk-UA" dirty="0"/>
              <a:t>Фото + Текст</a:t>
            </a:r>
            <a:endParaRPr lang="en-US" dirty="0"/>
          </a:p>
        </p:txBody>
      </p:sp>
      <p:sp>
        <p:nvSpPr>
          <p:cNvPr id="33" name="Slide Number Placeholder 8">
            <a:extLst>
              <a:ext uri="{FF2B5EF4-FFF2-40B4-BE49-F238E27FC236}">
                <a16:creationId xmlns:a16="http://schemas.microsoft.com/office/drawing/2014/main" id="{2D766C43-D98E-4360-B80C-9CF4286B8EF4}"/>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199892091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Main Points Bullets">
    <p:bg>
      <p:bgRef idx="1001">
        <a:schemeClr val="bg1"/>
      </p:bgRef>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00C61D1E-C559-431D-9756-338A8368CCA5}"/>
              </a:ext>
            </a:extLst>
          </p:cNvPr>
          <p:cNvGrpSpPr/>
          <p:nvPr userDrawn="1"/>
        </p:nvGrpSpPr>
        <p:grpSpPr>
          <a:xfrm>
            <a:off x="-9526" y="209380"/>
            <a:ext cx="12201526" cy="652004"/>
            <a:chOff x="-9526" y="209380"/>
            <a:chExt cx="12201526" cy="652004"/>
          </a:xfrm>
        </p:grpSpPr>
        <p:sp>
          <p:nvSpPr>
            <p:cNvPr id="20" name="Freeform: Shape 19">
              <a:extLst>
                <a:ext uri="{FF2B5EF4-FFF2-40B4-BE49-F238E27FC236}">
                  <a16:creationId xmlns:a16="http://schemas.microsoft.com/office/drawing/2014/main" id="{0E03E1B0-211A-4760-A011-5FDEFCA39CE9}"/>
                </a:ext>
              </a:extLst>
            </p:cNvPr>
            <p:cNvSpPr/>
            <p:nvPr userDrawn="1"/>
          </p:nvSpPr>
          <p:spPr>
            <a:xfrm>
              <a:off x="-9526" y="209380"/>
              <a:ext cx="12201526" cy="652004"/>
            </a:xfrm>
            <a:custGeom>
              <a:avLst/>
              <a:gdLst>
                <a:gd name="connsiteX0" fmla="*/ 0 w 12201526"/>
                <a:gd name="connsiteY0" fmla="*/ 0 h 652004"/>
                <a:gd name="connsiteX1" fmla="*/ 12201526 w 12201526"/>
                <a:gd name="connsiteY1" fmla="*/ 0 h 652004"/>
                <a:gd name="connsiteX2" fmla="*/ 12201526 w 12201526"/>
                <a:gd name="connsiteY2" fmla="*/ 18257 h 652004"/>
                <a:gd name="connsiteX3" fmla="*/ 10571673 w 12201526"/>
                <a:gd name="connsiteY3" fmla="*/ 18257 h 652004"/>
                <a:gd name="connsiteX4" fmla="*/ 9961538 w 12201526"/>
                <a:gd name="connsiteY4" fmla="*/ 633748 h 652004"/>
                <a:gd name="connsiteX5" fmla="*/ 12201526 w 12201526"/>
                <a:gd name="connsiteY5" fmla="*/ 633748 h 652004"/>
                <a:gd name="connsiteX6" fmla="*/ 12201526 w 12201526"/>
                <a:gd name="connsiteY6" fmla="*/ 652004 h 652004"/>
                <a:gd name="connsiteX7" fmla="*/ 0 w 12201526"/>
                <a:gd name="connsiteY7" fmla="*/ 652004 h 65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1526" h="652004">
                  <a:moveTo>
                    <a:pt x="0" y="0"/>
                  </a:moveTo>
                  <a:lnTo>
                    <a:pt x="12201526" y="0"/>
                  </a:lnTo>
                  <a:lnTo>
                    <a:pt x="12201526" y="18257"/>
                  </a:lnTo>
                  <a:lnTo>
                    <a:pt x="10571673" y="18257"/>
                  </a:lnTo>
                  <a:lnTo>
                    <a:pt x="9961538" y="633748"/>
                  </a:lnTo>
                  <a:lnTo>
                    <a:pt x="12201526" y="633748"/>
                  </a:lnTo>
                  <a:lnTo>
                    <a:pt x="12201526" y="652004"/>
                  </a:lnTo>
                  <a:lnTo>
                    <a:pt x="0" y="652004"/>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377C3521-EF30-4B8E-9412-2CC5A0950CF5}"/>
                </a:ext>
              </a:extLst>
            </p:cNvPr>
            <p:cNvGrpSpPr/>
            <p:nvPr/>
          </p:nvGrpSpPr>
          <p:grpSpPr>
            <a:xfrm>
              <a:off x="11049699" y="311944"/>
              <a:ext cx="446976" cy="446976"/>
              <a:chOff x="11049699" y="311944"/>
              <a:chExt cx="446976" cy="446976"/>
            </a:xfrm>
          </p:grpSpPr>
          <p:sp>
            <p:nvSpPr>
              <p:cNvPr id="22" name="Freeform: Shape 21">
                <a:extLst>
                  <a:ext uri="{FF2B5EF4-FFF2-40B4-BE49-F238E27FC236}">
                    <a16:creationId xmlns:a16="http://schemas.microsoft.com/office/drawing/2014/main" id="{5FFF63A6-7543-4258-963A-AA1ACAB5B2E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4C536238-F28E-446D-8746-114E88B900F7}"/>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513DFD98-7018-46E7-B0AC-A2B12FD8821B}"/>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10D965EB-0B52-41D6-9DAB-2B24E4AB4391}"/>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806D5858-74E1-4DF7-B359-BCED5227BE49}"/>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2573DE38-7ADF-4A59-AAA5-9AD81FC7D31E}"/>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3E78D70A-634F-441E-AF37-25E3BCB9F463}"/>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11B0B47F-4421-4CDC-916E-D6A47958DD5C}"/>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2584B112-E3BE-49A2-AFF5-1B0BB2E7B2B0}"/>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4721DFDC-E9CB-4893-95E1-DE04FCCCCDA0}"/>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472476CF-3B7A-497E-80AD-41B39023AEB5}"/>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7D0FF60A-2FD1-405E-BCB7-2F7FB16E7D0B}"/>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B6F7E783-15E9-4858-9C62-79DBE0A3BB93}"/>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60342EDF-18F0-41F8-A364-16D50D4125EC}"/>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DB99B7D8-3EE8-480C-A35B-9712F7A41E02}"/>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140610C4-8D89-4E68-BCE4-BAFE7C9CC99E}"/>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A47D0B4E-DF37-473C-8EB7-55B5F34F42B4}"/>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885D3C51-3560-4484-848D-955113DE7C15}"/>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20709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788160" y="1966159"/>
            <a:ext cx="3322956" cy="1493202"/>
          </a:xfrm>
        </p:spPr>
        <p:txBody>
          <a:bodyPr/>
          <a:lstStyle>
            <a:lvl1pP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4" name="Text Placeholder 10">
            <a:extLst>
              <a:ext uri="{FF2B5EF4-FFF2-40B4-BE49-F238E27FC236}">
                <a16:creationId xmlns:a16="http://schemas.microsoft.com/office/drawing/2014/main" id="{C7D1B35D-0F85-42B8-9CD4-03023F6F0FD5}"/>
              </a:ext>
            </a:extLst>
          </p:cNvPr>
          <p:cNvSpPr>
            <a:spLocks noGrp="1"/>
          </p:cNvSpPr>
          <p:nvPr>
            <p:ph type="body" sz="quarter" idx="13" hasCustomPrompt="1"/>
          </p:nvPr>
        </p:nvSpPr>
        <p:spPr>
          <a:xfrm>
            <a:off x="1788160" y="3965150"/>
            <a:ext cx="3322956" cy="1493202"/>
          </a:xfrm>
        </p:spPr>
        <p:txBody>
          <a:bodyPr/>
          <a:lstStyle>
            <a:lvl1pP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6847840" y="2009258"/>
            <a:ext cx="3322956" cy="1493202"/>
          </a:xfrm>
        </p:spPr>
        <p:txBody>
          <a:bodyPr/>
          <a:lstStyle>
            <a:lvl1pP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8" name="Text Placeholder 10">
            <a:extLst>
              <a:ext uri="{FF2B5EF4-FFF2-40B4-BE49-F238E27FC236}">
                <a16:creationId xmlns:a16="http://schemas.microsoft.com/office/drawing/2014/main" id="{686B627E-5203-4B50-8481-5FDF27DBEF23}"/>
              </a:ext>
            </a:extLst>
          </p:cNvPr>
          <p:cNvSpPr>
            <a:spLocks noGrp="1"/>
          </p:cNvSpPr>
          <p:nvPr>
            <p:ph type="body" sz="quarter" idx="17" hasCustomPrompt="1"/>
          </p:nvPr>
        </p:nvSpPr>
        <p:spPr>
          <a:xfrm>
            <a:off x="6847840" y="3993300"/>
            <a:ext cx="3322956" cy="1465052"/>
          </a:xfrm>
        </p:spPr>
        <p:txBody>
          <a:bodyPr/>
          <a:lstStyle>
            <a:lvl1pP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5" name="Title 11">
            <a:extLst>
              <a:ext uri="{FF2B5EF4-FFF2-40B4-BE49-F238E27FC236}">
                <a16:creationId xmlns:a16="http://schemas.microsoft.com/office/drawing/2014/main" id="{A37E0202-E5EA-404F-BE0B-492DF43BFEEA}"/>
              </a:ext>
            </a:extLst>
          </p:cNvPr>
          <p:cNvSpPr>
            <a:spLocks noGrp="1"/>
          </p:cNvSpPr>
          <p:nvPr>
            <p:ph type="title" hasCustomPrompt="1"/>
          </p:nvPr>
        </p:nvSpPr>
        <p:spPr>
          <a:xfrm>
            <a:off x="609601" y="348282"/>
            <a:ext cx="9330054" cy="389715"/>
          </a:xfrm>
        </p:spPr>
        <p:txBody>
          <a:bodyPr anchor="ctr"/>
          <a:lstStyle>
            <a:lvl1pPr algn="l">
              <a:defRPr sz="3000">
                <a:latin typeface="e-Ukraine Bold" panose="00000800000000000000" pitchFamily="50" charset="0"/>
              </a:defRPr>
            </a:lvl1pPr>
          </a:lstStyle>
          <a:p>
            <a:r>
              <a:rPr lang="uk-UA" dirty="0"/>
              <a:t>Ключові пункти</a:t>
            </a:r>
            <a:endParaRPr lang="en-US" dirty="0"/>
          </a:p>
        </p:txBody>
      </p:sp>
      <p:sp>
        <p:nvSpPr>
          <p:cNvPr id="44" name="Slide Number Placeholder 8">
            <a:extLst>
              <a:ext uri="{FF2B5EF4-FFF2-40B4-BE49-F238E27FC236}">
                <a16:creationId xmlns:a16="http://schemas.microsoft.com/office/drawing/2014/main" id="{C020D525-094C-4BA7-8E97-ADFEFFC29E72}"/>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119261195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s 1">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78949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5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Google Shape;63;p3">
            <a:extLst>
              <a:ext uri="{FF2B5EF4-FFF2-40B4-BE49-F238E27FC236}">
                <a16:creationId xmlns:a16="http://schemas.microsoft.com/office/drawing/2014/main" id="{B329F22F-A540-46BF-83EE-E54D5C1B9C53}"/>
              </a:ext>
            </a:extLst>
          </p:cNvPr>
          <p:cNvSpPr txBox="1">
            <a:spLocks/>
          </p:cNvSpPr>
          <p:nvPr userDrawn="1"/>
        </p:nvSpPr>
        <p:spPr>
          <a:xfrm>
            <a:off x="7772720" y="2026462"/>
            <a:ext cx="3291520" cy="827841"/>
          </a:xfrm>
          <a:prstGeom prst="rect">
            <a:avLst/>
          </a:prstGeom>
        </p:spPr>
        <p:txBody>
          <a:bodyPr spcFirstLastPara="1" vert="horz" wrap="square" lIns="91425" tIns="91425" rIns="91425" bIns="91425" rtlCol="0" anchor="t" anchorCtr="0">
            <a:noAutofit/>
          </a:bodyPr>
          <a:lstStyle>
            <a:lvl1pPr marL="0" marR="0" lvl="0" indent="-205740" algn="l" defTabSz="685800" rtl="0" eaLnBrk="1" fontAlgn="auto" latinLnBrk="0" hangingPunct="1">
              <a:lnSpc>
                <a:spcPct val="100000"/>
              </a:lnSpc>
              <a:spcBef>
                <a:spcPts val="0"/>
              </a:spcBef>
              <a:spcAft>
                <a:spcPts val="0"/>
              </a:spcAft>
              <a:buClr>
                <a:srgbClr val="453751"/>
              </a:buClr>
              <a:buSzPts val="1000"/>
              <a:buFont typeface="e-Ukraine UltraLight"/>
              <a:buNone/>
              <a:tabLst/>
              <a:defRPr sz="2000" kern="1200">
                <a:solidFill>
                  <a:schemeClr val="tx1"/>
                </a:solidFill>
                <a:latin typeface="e-Ukraine UltraLight" panose="00000500000000000000" pitchFamily="2" charset="0"/>
                <a:ea typeface="e-Ukraine UltraLight" panose="00000500000000000000" pitchFamily="2" charset="0"/>
                <a:cs typeface="e-Ukraine UltraLight" panose="00000500000000000000" pitchFamily="2" charset="0"/>
                <a:sym typeface="e-Ukraine UltraLight"/>
              </a:defRPr>
            </a:lvl1pPr>
            <a:lvl2pPr marL="205740" lvl="1" indent="-205740" algn="l" defTabSz="685800" rtl="0" eaLnBrk="1" latinLnBrk="0" hangingPunct="1">
              <a:lnSpc>
                <a:spcPct val="100000"/>
              </a:lnSpc>
              <a:spcBef>
                <a:spcPts val="0"/>
              </a:spcBef>
              <a:spcAft>
                <a:spcPts val="0"/>
              </a:spcAft>
              <a:buClr>
                <a:srgbClr val="453751"/>
              </a:buClr>
              <a:buSzPts val="1000"/>
              <a:buFont typeface="e-Ukraine UltraLight"/>
              <a:buNone/>
              <a:defRPr sz="1000" kern="1200">
                <a:solidFill>
                  <a:srgbClr val="453751"/>
                </a:solidFill>
                <a:latin typeface="e-Ukraine UltraLight"/>
                <a:ea typeface="e-Ukraine UltraLight"/>
                <a:cs typeface="e-Ukraine UltraLight"/>
                <a:sym typeface="e-Ukraine UltraLight"/>
              </a:defRPr>
            </a:lvl2pPr>
            <a:lvl3pPr marL="411480" lvl="2" indent="-205740" algn="l" defTabSz="685800" rtl="0" eaLnBrk="1" latinLnBrk="0" hangingPunct="1">
              <a:lnSpc>
                <a:spcPct val="100000"/>
              </a:lnSpc>
              <a:spcBef>
                <a:spcPts val="0"/>
              </a:spcBef>
              <a:spcAft>
                <a:spcPts val="0"/>
              </a:spcAft>
              <a:buClr>
                <a:srgbClr val="453751"/>
              </a:buClr>
              <a:buSzPts val="1000"/>
              <a:buFont typeface="e-Ukraine UltraLight"/>
              <a:buNone/>
              <a:defRPr sz="1000" kern="1200">
                <a:solidFill>
                  <a:srgbClr val="453751"/>
                </a:solidFill>
                <a:latin typeface="e-Ukraine UltraLight"/>
                <a:ea typeface="e-Ukraine UltraLight"/>
                <a:cs typeface="e-Ukraine UltraLight"/>
                <a:sym typeface="e-Ukraine UltraLight"/>
              </a:defRPr>
            </a:lvl3pPr>
            <a:lvl4pPr marL="617220" lvl="3" indent="-205740" algn="l" defTabSz="685800" rtl="0" eaLnBrk="1" latinLnBrk="0" hangingPunct="1">
              <a:lnSpc>
                <a:spcPct val="100000"/>
              </a:lnSpc>
              <a:spcBef>
                <a:spcPts val="0"/>
              </a:spcBef>
              <a:spcAft>
                <a:spcPts val="0"/>
              </a:spcAft>
              <a:buClr>
                <a:srgbClr val="453751"/>
              </a:buClr>
              <a:buSzPts val="1000"/>
              <a:buFont typeface="e-Ukraine UltraLight"/>
              <a:buNone/>
              <a:defRPr sz="1000" kern="1200">
                <a:solidFill>
                  <a:srgbClr val="453751"/>
                </a:solidFill>
                <a:latin typeface="e-Ukraine UltraLight"/>
                <a:ea typeface="e-Ukraine UltraLight"/>
                <a:cs typeface="e-Ukraine UltraLight"/>
                <a:sym typeface="e-Ukraine UltraLight"/>
              </a:defRPr>
            </a:lvl4pPr>
            <a:lvl5pPr marL="822960" lvl="4" indent="-205740" algn="l" defTabSz="685800" rtl="0" eaLnBrk="1" latinLnBrk="0" hangingPunct="1">
              <a:lnSpc>
                <a:spcPct val="100000"/>
              </a:lnSpc>
              <a:spcBef>
                <a:spcPts val="0"/>
              </a:spcBef>
              <a:spcAft>
                <a:spcPts val="0"/>
              </a:spcAft>
              <a:buClr>
                <a:srgbClr val="453751"/>
              </a:buClr>
              <a:buSzPts val="1000"/>
              <a:buFont typeface="e-Ukraine UltraLight"/>
              <a:buNone/>
              <a:defRPr sz="1000" kern="1200" baseline="0">
                <a:solidFill>
                  <a:srgbClr val="453751"/>
                </a:solidFill>
                <a:latin typeface="e-Ukraine UltraLight"/>
                <a:ea typeface="e-Ukraine UltraLight"/>
                <a:cs typeface="e-Ukraine UltraLight"/>
                <a:sym typeface="e-Ukraine UltraLight"/>
              </a:defRPr>
            </a:lvl5pPr>
            <a:lvl6pPr marL="205740" marR="0" lvl="5" indent="-205740" algn="l" defTabSz="685800" rtl="0" eaLnBrk="1" fontAlgn="auto" latinLnBrk="0" hangingPunct="1">
              <a:lnSpc>
                <a:spcPct val="100000"/>
              </a:lnSpc>
              <a:spcBef>
                <a:spcPts val="0"/>
              </a:spcBef>
              <a:spcAft>
                <a:spcPts val="0"/>
              </a:spcAft>
              <a:buClr>
                <a:srgbClr val="453751"/>
              </a:buClr>
              <a:buSzPts val="1000"/>
              <a:buFont typeface="e-Ukraine UltraLight"/>
              <a:buNone/>
              <a:tabLst/>
              <a:defRPr sz="1000" kern="1200" baseline="0">
                <a:solidFill>
                  <a:srgbClr val="453751"/>
                </a:solidFill>
                <a:latin typeface="e-Ukraine UltraLight"/>
                <a:ea typeface="e-Ukraine UltraLight"/>
                <a:cs typeface="e-Ukraine UltraLight"/>
                <a:sym typeface="e-Ukraine UltraLight"/>
              </a:defRPr>
            </a:lvl6pPr>
            <a:lvl7pPr marL="411480" lvl="6" indent="-205740" algn="l" defTabSz="685800" rtl="0" eaLnBrk="1" latinLnBrk="0" hangingPunct="1">
              <a:lnSpc>
                <a:spcPct val="100000"/>
              </a:lnSpc>
              <a:spcBef>
                <a:spcPts val="0"/>
              </a:spcBef>
              <a:spcAft>
                <a:spcPts val="0"/>
              </a:spcAft>
              <a:buClr>
                <a:srgbClr val="453751"/>
              </a:buClr>
              <a:buSzPts val="1000"/>
              <a:buFont typeface="e-Ukraine UltraLight"/>
              <a:buNone/>
              <a:defRPr sz="1000" kern="1200" baseline="0">
                <a:solidFill>
                  <a:srgbClr val="453751"/>
                </a:solidFill>
                <a:latin typeface="e-Ukraine UltraLight"/>
                <a:ea typeface="e-Ukraine UltraLight"/>
                <a:cs typeface="e-Ukraine UltraLight"/>
                <a:sym typeface="e-Ukraine UltraLight"/>
              </a:defRPr>
            </a:lvl7pPr>
            <a:lvl8pPr marL="617220" lvl="7" indent="-205740" algn="l" defTabSz="685800" rtl="0" eaLnBrk="1" latinLnBrk="0" hangingPunct="1">
              <a:lnSpc>
                <a:spcPct val="100000"/>
              </a:lnSpc>
              <a:spcBef>
                <a:spcPts val="0"/>
              </a:spcBef>
              <a:spcAft>
                <a:spcPts val="0"/>
              </a:spcAft>
              <a:buClr>
                <a:srgbClr val="453751"/>
              </a:buClr>
              <a:buSzPts val="1000"/>
              <a:buFont typeface="e-Ukraine UltraLight"/>
              <a:buNone/>
              <a:defRPr sz="1000" kern="1200" baseline="0">
                <a:solidFill>
                  <a:srgbClr val="453751"/>
                </a:solidFill>
                <a:latin typeface="e-Ukraine UltraLight"/>
                <a:ea typeface="e-Ukraine UltraLight"/>
                <a:cs typeface="e-Ukraine UltraLight"/>
                <a:sym typeface="e-Ukraine UltraLight"/>
              </a:defRPr>
            </a:lvl8pPr>
            <a:lvl9pPr marL="0" lvl="8" indent="-205740" algn="l" defTabSz="685800" rtl="0" eaLnBrk="1" latinLnBrk="0" hangingPunct="1">
              <a:lnSpc>
                <a:spcPct val="100000"/>
              </a:lnSpc>
              <a:spcBef>
                <a:spcPts val="0"/>
              </a:spcBef>
              <a:spcAft>
                <a:spcPts val="0"/>
              </a:spcAft>
              <a:buClr>
                <a:srgbClr val="453751"/>
              </a:buClr>
              <a:buSzPts val="1000"/>
              <a:buFont typeface="e-Ukraine UltraLight"/>
              <a:buNone/>
              <a:defRPr sz="1000" b="1" kern="1200" baseline="0">
                <a:solidFill>
                  <a:srgbClr val="453751"/>
                </a:solidFill>
                <a:latin typeface="e-Ukraine UltraLight"/>
                <a:ea typeface="e-Ukraine UltraLight"/>
                <a:cs typeface="e-Ukraine UltraLight"/>
                <a:sym typeface="e-Ukraine UltraLight"/>
              </a:defRPr>
            </a:lvl9pPr>
          </a:lstStyle>
          <a:p>
            <a:endParaRPr lang="en-US" dirty="0"/>
          </a:p>
        </p:txBody>
      </p:sp>
      <p:sp>
        <p:nvSpPr>
          <p:cNvPr id="24" name="Text Placeholder 23">
            <a:extLst>
              <a:ext uri="{FF2B5EF4-FFF2-40B4-BE49-F238E27FC236}">
                <a16:creationId xmlns:a16="http://schemas.microsoft.com/office/drawing/2014/main" id="{F0737FB0-9B4B-4D5B-A343-3069BE9127BC}"/>
              </a:ext>
            </a:extLst>
          </p:cNvPr>
          <p:cNvSpPr>
            <a:spLocks noGrp="1"/>
          </p:cNvSpPr>
          <p:nvPr>
            <p:ph type="body" sz="quarter" idx="10" hasCustomPrompt="1"/>
          </p:nvPr>
        </p:nvSpPr>
        <p:spPr>
          <a:xfrm>
            <a:off x="1037291" y="1413445"/>
            <a:ext cx="1272935" cy="1545939"/>
          </a:xfrm>
        </p:spPr>
        <p:txBody>
          <a:bodyPr anchor="b"/>
          <a:lstStyle>
            <a:lvl1pPr algn="r">
              <a:defRPr sz="6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28" name="Text Placeholder 6">
            <a:extLst>
              <a:ext uri="{FF2B5EF4-FFF2-40B4-BE49-F238E27FC236}">
                <a16:creationId xmlns:a16="http://schemas.microsoft.com/office/drawing/2014/main" id="{7A7CB056-5063-40F3-9148-53105EBF4308}"/>
              </a:ext>
            </a:extLst>
          </p:cNvPr>
          <p:cNvSpPr>
            <a:spLocks noGrp="1"/>
          </p:cNvSpPr>
          <p:nvPr>
            <p:ph type="body" sz="quarter" idx="11" hasCustomPrompt="1"/>
          </p:nvPr>
        </p:nvSpPr>
        <p:spPr>
          <a:xfrm>
            <a:off x="2500132" y="2238230"/>
            <a:ext cx="2994815" cy="535707"/>
          </a:xfrm>
        </p:spPr>
        <p:txBody>
          <a:bodyPr/>
          <a:lstStyle>
            <a:lvl1pPr>
              <a:spcAft>
                <a:spcPts val="0"/>
              </a:spcAft>
              <a:defRPr sz="20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20 pt.</a:t>
            </a:r>
          </a:p>
        </p:txBody>
      </p:sp>
      <p:sp>
        <p:nvSpPr>
          <p:cNvPr id="29" name="Text Placeholder 10">
            <a:extLst>
              <a:ext uri="{FF2B5EF4-FFF2-40B4-BE49-F238E27FC236}">
                <a16:creationId xmlns:a16="http://schemas.microsoft.com/office/drawing/2014/main" id="{5CDE6B86-9C34-4821-858E-EBDDC1FC7764}"/>
              </a:ext>
            </a:extLst>
          </p:cNvPr>
          <p:cNvSpPr>
            <a:spLocks noGrp="1"/>
          </p:cNvSpPr>
          <p:nvPr>
            <p:ph type="body" sz="quarter" idx="12" hasCustomPrompt="1"/>
          </p:nvPr>
        </p:nvSpPr>
        <p:spPr>
          <a:xfrm>
            <a:off x="1146173" y="2972207"/>
            <a:ext cx="4348773" cy="716384"/>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a:r>
            <a:br>
              <a:rPr lang="en-US" dirty="0"/>
            </a:br>
            <a:r>
              <a:rPr lang="en-US" dirty="0"/>
              <a:t>20  pt.</a:t>
            </a:r>
          </a:p>
        </p:txBody>
      </p:sp>
      <p:sp>
        <p:nvSpPr>
          <p:cNvPr id="30" name="Text Placeholder 23">
            <a:extLst>
              <a:ext uri="{FF2B5EF4-FFF2-40B4-BE49-F238E27FC236}">
                <a16:creationId xmlns:a16="http://schemas.microsoft.com/office/drawing/2014/main" id="{CA99A73D-60D1-40D0-9345-4500BC614ACE}"/>
              </a:ext>
            </a:extLst>
          </p:cNvPr>
          <p:cNvSpPr>
            <a:spLocks noGrp="1"/>
          </p:cNvSpPr>
          <p:nvPr>
            <p:ph type="body" sz="quarter" idx="13" hasCustomPrompt="1"/>
          </p:nvPr>
        </p:nvSpPr>
        <p:spPr>
          <a:xfrm>
            <a:off x="6487085" y="1413445"/>
            <a:ext cx="1272935" cy="1545939"/>
          </a:xfrm>
        </p:spPr>
        <p:txBody>
          <a:bodyPr anchor="b"/>
          <a:lstStyle>
            <a:lvl1pPr algn="r">
              <a:defRPr sz="6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31" name="Text Placeholder 6">
            <a:extLst>
              <a:ext uri="{FF2B5EF4-FFF2-40B4-BE49-F238E27FC236}">
                <a16:creationId xmlns:a16="http://schemas.microsoft.com/office/drawing/2014/main" id="{5F78187C-3F70-4711-B9C6-ECFA4B742CC8}"/>
              </a:ext>
            </a:extLst>
          </p:cNvPr>
          <p:cNvSpPr>
            <a:spLocks noGrp="1"/>
          </p:cNvSpPr>
          <p:nvPr>
            <p:ph type="body" sz="quarter" idx="14" hasCustomPrompt="1"/>
          </p:nvPr>
        </p:nvSpPr>
        <p:spPr>
          <a:xfrm>
            <a:off x="7949926" y="2238230"/>
            <a:ext cx="2994815" cy="535707"/>
          </a:xfrm>
        </p:spPr>
        <p:txBody>
          <a:bodyPr/>
          <a:lstStyle>
            <a:lvl1pPr>
              <a:spcAft>
                <a:spcPts val="0"/>
              </a:spcAft>
              <a:defRPr sz="20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20 pt.</a:t>
            </a:r>
          </a:p>
        </p:txBody>
      </p:sp>
      <p:sp>
        <p:nvSpPr>
          <p:cNvPr id="32" name="Text Placeholder 10">
            <a:extLst>
              <a:ext uri="{FF2B5EF4-FFF2-40B4-BE49-F238E27FC236}">
                <a16:creationId xmlns:a16="http://schemas.microsoft.com/office/drawing/2014/main" id="{D62168C4-B292-4EA3-A6EA-1D2A2890BACE}"/>
              </a:ext>
            </a:extLst>
          </p:cNvPr>
          <p:cNvSpPr>
            <a:spLocks noGrp="1"/>
          </p:cNvSpPr>
          <p:nvPr>
            <p:ph type="body" sz="quarter" idx="15" hasCustomPrompt="1"/>
          </p:nvPr>
        </p:nvSpPr>
        <p:spPr>
          <a:xfrm>
            <a:off x="6595967" y="2972207"/>
            <a:ext cx="4348773" cy="716384"/>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a:r>
            <a:br>
              <a:rPr lang="en-US" dirty="0"/>
            </a:br>
            <a:r>
              <a:rPr lang="en-US" dirty="0"/>
              <a:t>20  pt.</a:t>
            </a:r>
          </a:p>
        </p:txBody>
      </p:sp>
      <p:sp>
        <p:nvSpPr>
          <p:cNvPr id="33" name="Text Placeholder 23">
            <a:extLst>
              <a:ext uri="{FF2B5EF4-FFF2-40B4-BE49-F238E27FC236}">
                <a16:creationId xmlns:a16="http://schemas.microsoft.com/office/drawing/2014/main" id="{401222C3-06F0-4357-8048-27B0C1581578}"/>
              </a:ext>
            </a:extLst>
          </p:cNvPr>
          <p:cNvSpPr>
            <a:spLocks noGrp="1"/>
          </p:cNvSpPr>
          <p:nvPr>
            <p:ph type="body" sz="quarter" idx="16" hasCustomPrompt="1"/>
          </p:nvPr>
        </p:nvSpPr>
        <p:spPr>
          <a:xfrm>
            <a:off x="6487085" y="3714951"/>
            <a:ext cx="1272935" cy="1545939"/>
          </a:xfrm>
        </p:spPr>
        <p:txBody>
          <a:bodyPr anchor="b"/>
          <a:lstStyle>
            <a:lvl1pPr algn="r">
              <a:defRPr sz="6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34" name="Text Placeholder 6">
            <a:extLst>
              <a:ext uri="{FF2B5EF4-FFF2-40B4-BE49-F238E27FC236}">
                <a16:creationId xmlns:a16="http://schemas.microsoft.com/office/drawing/2014/main" id="{BA7842F9-2CE6-40AC-BA0B-937286842C5C}"/>
              </a:ext>
            </a:extLst>
          </p:cNvPr>
          <p:cNvSpPr>
            <a:spLocks noGrp="1"/>
          </p:cNvSpPr>
          <p:nvPr>
            <p:ph type="body" sz="quarter" idx="17" hasCustomPrompt="1"/>
          </p:nvPr>
        </p:nvSpPr>
        <p:spPr>
          <a:xfrm>
            <a:off x="7949926" y="4539736"/>
            <a:ext cx="2994815" cy="535707"/>
          </a:xfrm>
        </p:spPr>
        <p:txBody>
          <a:bodyPr/>
          <a:lstStyle>
            <a:lvl1pPr>
              <a:spcAft>
                <a:spcPts val="0"/>
              </a:spcAft>
              <a:defRPr sz="20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20 pt.</a:t>
            </a:r>
          </a:p>
        </p:txBody>
      </p:sp>
      <p:sp>
        <p:nvSpPr>
          <p:cNvPr id="35" name="Text Placeholder 10">
            <a:extLst>
              <a:ext uri="{FF2B5EF4-FFF2-40B4-BE49-F238E27FC236}">
                <a16:creationId xmlns:a16="http://schemas.microsoft.com/office/drawing/2014/main" id="{FE267D7E-CAFA-4243-9CCC-14A4050F8EA9}"/>
              </a:ext>
            </a:extLst>
          </p:cNvPr>
          <p:cNvSpPr>
            <a:spLocks noGrp="1"/>
          </p:cNvSpPr>
          <p:nvPr>
            <p:ph type="body" sz="quarter" idx="18" hasCustomPrompt="1"/>
          </p:nvPr>
        </p:nvSpPr>
        <p:spPr>
          <a:xfrm>
            <a:off x="6595968" y="5273713"/>
            <a:ext cx="4348772" cy="716384"/>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a:r>
            <a:br>
              <a:rPr lang="en-US" dirty="0"/>
            </a:br>
            <a:r>
              <a:rPr lang="en-US" dirty="0"/>
              <a:t>20  pt.</a:t>
            </a:r>
          </a:p>
        </p:txBody>
      </p:sp>
      <p:sp>
        <p:nvSpPr>
          <p:cNvPr id="36" name="Text Placeholder 23">
            <a:extLst>
              <a:ext uri="{FF2B5EF4-FFF2-40B4-BE49-F238E27FC236}">
                <a16:creationId xmlns:a16="http://schemas.microsoft.com/office/drawing/2014/main" id="{2839F530-41AE-48CB-AF41-5A68CB627FE8}"/>
              </a:ext>
            </a:extLst>
          </p:cNvPr>
          <p:cNvSpPr>
            <a:spLocks noGrp="1"/>
          </p:cNvSpPr>
          <p:nvPr>
            <p:ph type="body" sz="quarter" idx="19" hasCustomPrompt="1"/>
          </p:nvPr>
        </p:nvSpPr>
        <p:spPr>
          <a:xfrm>
            <a:off x="1037291" y="3714951"/>
            <a:ext cx="1272935" cy="1545939"/>
          </a:xfrm>
        </p:spPr>
        <p:txBody>
          <a:bodyPr anchor="b"/>
          <a:lstStyle>
            <a:lvl1pPr algn="r">
              <a:defRPr sz="6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37" name="Text Placeholder 6">
            <a:extLst>
              <a:ext uri="{FF2B5EF4-FFF2-40B4-BE49-F238E27FC236}">
                <a16:creationId xmlns:a16="http://schemas.microsoft.com/office/drawing/2014/main" id="{91584634-8949-4D26-9E42-376CE951A072}"/>
              </a:ext>
            </a:extLst>
          </p:cNvPr>
          <p:cNvSpPr>
            <a:spLocks noGrp="1"/>
          </p:cNvSpPr>
          <p:nvPr>
            <p:ph type="body" sz="quarter" idx="20" hasCustomPrompt="1"/>
          </p:nvPr>
        </p:nvSpPr>
        <p:spPr>
          <a:xfrm>
            <a:off x="2500132" y="4539736"/>
            <a:ext cx="2994815" cy="535707"/>
          </a:xfrm>
        </p:spPr>
        <p:txBody>
          <a:bodyPr/>
          <a:lstStyle>
            <a:lvl1pPr>
              <a:spcAft>
                <a:spcPts val="0"/>
              </a:spcAft>
              <a:defRPr sz="20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a:t>
            </a:r>
            <a:r>
              <a:rPr lang="en-US" dirty="0"/>
              <a:t/>
            </a:r>
            <a:br>
              <a:rPr lang="en-US" dirty="0"/>
            </a:br>
            <a:r>
              <a:rPr lang="en-US" dirty="0"/>
              <a:t>e-Ukraine 20 pt.</a:t>
            </a:r>
          </a:p>
        </p:txBody>
      </p:sp>
      <p:sp>
        <p:nvSpPr>
          <p:cNvPr id="38" name="Text Placeholder 10">
            <a:extLst>
              <a:ext uri="{FF2B5EF4-FFF2-40B4-BE49-F238E27FC236}">
                <a16:creationId xmlns:a16="http://schemas.microsoft.com/office/drawing/2014/main" id="{8848AA0D-A2C9-4B41-9A2B-F6AD5580F34F}"/>
              </a:ext>
            </a:extLst>
          </p:cNvPr>
          <p:cNvSpPr>
            <a:spLocks noGrp="1"/>
          </p:cNvSpPr>
          <p:nvPr>
            <p:ph type="body" sz="quarter" idx="21" hasCustomPrompt="1"/>
          </p:nvPr>
        </p:nvSpPr>
        <p:spPr>
          <a:xfrm>
            <a:off x="1146173" y="5273713"/>
            <a:ext cx="4348771" cy="716384"/>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a:r>
            <a:br>
              <a:rPr lang="en-US" dirty="0"/>
            </a:br>
            <a:r>
              <a:rPr lang="en-US" dirty="0"/>
              <a:t>20  pt.</a:t>
            </a:r>
          </a:p>
        </p:txBody>
      </p:sp>
      <p:grpSp>
        <p:nvGrpSpPr>
          <p:cNvPr id="54" name="Group 53">
            <a:extLst>
              <a:ext uri="{FF2B5EF4-FFF2-40B4-BE49-F238E27FC236}">
                <a16:creationId xmlns:a16="http://schemas.microsoft.com/office/drawing/2014/main" id="{108C005B-A0DB-4D2B-BDE9-85A5D6482D00}"/>
              </a:ext>
            </a:extLst>
          </p:cNvPr>
          <p:cNvGrpSpPr/>
          <p:nvPr userDrawn="1"/>
        </p:nvGrpSpPr>
        <p:grpSpPr>
          <a:xfrm>
            <a:off x="0" y="209380"/>
            <a:ext cx="12192000" cy="900000"/>
            <a:chOff x="0" y="209380"/>
            <a:chExt cx="12192000" cy="900000"/>
          </a:xfrm>
        </p:grpSpPr>
        <p:sp>
          <p:nvSpPr>
            <p:cNvPr id="55" name="Freeform: Shape 54">
              <a:extLst>
                <a:ext uri="{FF2B5EF4-FFF2-40B4-BE49-F238E27FC236}">
                  <a16:creationId xmlns:a16="http://schemas.microsoft.com/office/drawing/2014/main" id="{031DB08A-F1D7-4D89-8426-F183F3329384}"/>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56" name="Graphic 22">
              <a:extLst>
                <a:ext uri="{FF2B5EF4-FFF2-40B4-BE49-F238E27FC236}">
                  <a16:creationId xmlns:a16="http://schemas.microsoft.com/office/drawing/2014/main" id="{6777BC43-B75E-457F-AA00-735B6D9EAB94}"/>
                </a:ext>
              </a:extLst>
            </p:cNvPr>
            <p:cNvGrpSpPr/>
            <p:nvPr/>
          </p:nvGrpSpPr>
          <p:grpSpPr>
            <a:xfrm>
              <a:off x="10915649" y="368867"/>
              <a:ext cx="581025" cy="581025"/>
              <a:chOff x="11049699" y="311944"/>
              <a:chExt cx="446976" cy="446976"/>
            </a:xfrm>
          </p:grpSpPr>
          <p:sp>
            <p:nvSpPr>
              <p:cNvPr id="57" name="Freeform: Shape 56">
                <a:extLst>
                  <a:ext uri="{FF2B5EF4-FFF2-40B4-BE49-F238E27FC236}">
                    <a16:creationId xmlns:a16="http://schemas.microsoft.com/office/drawing/2014/main" id="{1FD82BF4-76FA-4BCC-B5B5-4A0AC6AF8E6D}"/>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58" name="Freeform: Shape 57">
                <a:extLst>
                  <a:ext uri="{FF2B5EF4-FFF2-40B4-BE49-F238E27FC236}">
                    <a16:creationId xmlns:a16="http://schemas.microsoft.com/office/drawing/2014/main" id="{35F8F600-E497-493F-B2CF-B2889A1D30CB}"/>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59" name="Freeform: Shape 58">
                <a:extLst>
                  <a:ext uri="{FF2B5EF4-FFF2-40B4-BE49-F238E27FC236}">
                    <a16:creationId xmlns:a16="http://schemas.microsoft.com/office/drawing/2014/main" id="{53ACCD4C-4B22-41B1-961E-797C28B8B925}"/>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0" name="Freeform: Shape 59">
                <a:extLst>
                  <a:ext uri="{FF2B5EF4-FFF2-40B4-BE49-F238E27FC236}">
                    <a16:creationId xmlns:a16="http://schemas.microsoft.com/office/drawing/2014/main" id="{C552321F-473C-4FA1-846D-E079C94E4588}"/>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61" name="Freeform: Shape 60">
                <a:extLst>
                  <a:ext uri="{FF2B5EF4-FFF2-40B4-BE49-F238E27FC236}">
                    <a16:creationId xmlns:a16="http://schemas.microsoft.com/office/drawing/2014/main" id="{17CAC4AA-BFC5-46DD-B7B7-ACA9D4E041E6}"/>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62" name="Freeform: Shape 61">
                <a:extLst>
                  <a:ext uri="{FF2B5EF4-FFF2-40B4-BE49-F238E27FC236}">
                    <a16:creationId xmlns:a16="http://schemas.microsoft.com/office/drawing/2014/main" id="{A0E0CC3F-43D8-42C1-AFE0-957C8505BF0D}"/>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63" name="Freeform: Shape 62">
                <a:extLst>
                  <a:ext uri="{FF2B5EF4-FFF2-40B4-BE49-F238E27FC236}">
                    <a16:creationId xmlns:a16="http://schemas.microsoft.com/office/drawing/2014/main" id="{B72913B5-2335-4396-9039-30200DCCEB81}"/>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4" name="Freeform: Shape 63">
                <a:extLst>
                  <a:ext uri="{FF2B5EF4-FFF2-40B4-BE49-F238E27FC236}">
                    <a16:creationId xmlns:a16="http://schemas.microsoft.com/office/drawing/2014/main" id="{92B06EE2-F967-4506-B4E6-08A4C25A4B43}"/>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65" name="Freeform: Shape 64">
                <a:extLst>
                  <a:ext uri="{FF2B5EF4-FFF2-40B4-BE49-F238E27FC236}">
                    <a16:creationId xmlns:a16="http://schemas.microsoft.com/office/drawing/2014/main" id="{2F115D7E-E602-4C25-B0CE-0D017C57CFB3}"/>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66" name="Freeform: Shape 65">
                <a:extLst>
                  <a:ext uri="{FF2B5EF4-FFF2-40B4-BE49-F238E27FC236}">
                    <a16:creationId xmlns:a16="http://schemas.microsoft.com/office/drawing/2014/main" id="{363AB777-4BA1-43F7-AF71-FECB1DA3ED8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67" name="Freeform: Shape 66">
                <a:extLst>
                  <a:ext uri="{FF2B5EF4-FFF2-40B4-BE49-F238E27FC236}">
                    <a16:creationId xmlns:a16="http://schemas.microsoft.com/office/drawing/2014/main" id="{A67124B7-FCD7-4FAC-92E4-BCF79A14C40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68" name="Freeform: Shape 67">
                <a:extLst>
                  <a:ext uri="{FF2B5EF4-FFF2-40B4-BE49-F238E27FC236}">
                    <a16:creationId xmlns:a16="http://schemas.microsoft.com/office/drawing/2014/main" id="{46C4C7F3-4028-449A-ABE2-C9F73EAA38ED}"/>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69" name="Freeform: Shape 68">
                <a:extLst>
                  <a:ext uri="{FF2B5EF4-FFF2-40B4-BE49-F238E27FC236}">
                    <a16:creationId xmlns:a16="http://schemas.microsoft.com/office/drawing/2014/main" id="{B7357277-61B1-403F-9785-9C3493972FC2}"/>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70" name="Freeform: Shape 69">
                <a:extLst>
                  <a:ext uri="{FF2B5EF4-FFF2-40B4-BE49-F238E27FC236}">
                    <a16:creationId xmlns:a16="http://schemas.microsoft.com/office/drawing/2014/main" id="{70AD6A43-0D26-4AF9-B9F0-C03D58029D45}"/>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71" name="Freeform: Shape 70">
                <a:extLst>
                  <a:ext uri="{FF2B5EF4-FFF2-40B4-BE49-F238E27FC236}">
                    <a16:creationId xmlns:a16="http://schemas.microsoft.com/office/drawing/2014/main" id="{95536D5A-A73C-40F4-8EF0-E7D8BF8E7643}"/>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72" name="Freeform: Shape 71">
                <a:extLst>
                  <a:ext uri="{FF2B5EF4-FFF2-40B4-BE49-F238E27FC236}">
                    <a16:creationId xmlns:a16="http://schemas.microsoft.com/office/drawing/2014/main" id="{7075F093-3AB8-4FDA-B099-F1CDA4EF0196}"/>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73" name="Freeform: Shape 72">
                <a:extLst>
                  <a:ext uri="{FF2B5EF4-FFF2-40B4-BE49-F238E27FC236}">
                    <a16:creationId xmlns:a16="http://schemas.microsoft.com/office/drawing/2014/main" id="{FE8FAF72-68D2-430D-ADCC-669F1BE60F2B}"/>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74" name="Freeform: Shape 73">
                <a:extLst>
                  <a:ext uri="{FF2B5EF4-FFF2-40B4-BE49-F238E27FC236}">
                    <a16:creationId xmlns:a16="http://schemas.microsoft.com/office/drawing/2014/main" id="{02721EB4-CE4A-4CF7-B0CC-6F260356C8F0}"/>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75" name="Title 11">
            <a:extLst>
              <a:ext uri="{FF2B5EF4-FFF2-40B4-BE49-F238E27FC236}">
                <a16:creationId xmlns:a16="http://schemas.microsoft.com/office/drawing/2014/main" id="{94ECF77F-E6AF-4294-9E74-261FC4D41A69}"/>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3-4</a:t>
            </a:r>
            <a:r>
              <a:rPr lang="en-US" dirty="0"/>
              <a:t> </a:t>
            </a:r>
            <a:r>
              <a:rPr lang="uk-UA" dirty="0"/>
              <a:t>ключові значення</a:t>
            </a:r>
            <a:endParaRPr lang="en-US" dirty="0"/>
          </a:p>
        </p:txBody>
      </p:sp>
      <p:sp>
        <p:nvSpPr>
          <p:cNvPr id="43" name="Slide Number Placeholder 8">
            <a:extLst>
              <a:ext uri="{FF2B5EF4-FFF2-40B4-BE49-F238E27FC236}">
                <a16:creationId xmlns:a16="http://schemas.microsoft.com/office/drawing/2014/main" id="{25D63A1B-8E94-4BB6-A110-4AC31BA45272}"/>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41090950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oals">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54215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D32FD40-7671-43E7-B914-22903CE07076}"/>
              </a:ext>
            </a:extLst>
          </p:cNvPr>
          <p:cNvSpPr>
            <a:spLocks noGrp="1"/>
          </p:cNvSpPr>
          <p:nvPr>
            <p:ph type="body" sz="quarter" idx="10" hasCustomPrompt="1"/>
          </p:nvPr>
        </p:nvSpPr>
        <p:spPr>
          <a:xfrm>
            <a:off x="1523000" y="1430242"/>
            <a:ext cx="3322956" cy="528637"/>
          </a:xfrm>
        </p:spPr>
        <p:txBody>
          <a:bodyPr/>
          <a:lstStyle>
            <a:lvl1pPr algn="r">
              <a:defRPr sz="2000">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en-US" dirty="0"/>
              <a:t>Goal 1. e-Ukraine UltraLight </a:t>
            </a:r>
            <a:r>
              <a:rPr lang="en-US" dirty="0" err="1"/>
              <a:t>SemiBold</a:t>
            </a:r>
            <a:r>
              <a:rPr lang="en-US" dirty="0"/>
              <a:t> 20</a:t>
            </a:r>
          </a:p>
        </p:txBody>
      </p:sp>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523001" y="2177177"/>
            <a:ext cx="3322956" cy="664938"/>
          </a:xfrm>
        </p:spPr>
        <p:txBody>
          <a:bodyPr/>
          <a:lstStyle>
            <a:lvl1pPr algn="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3" name="Text Placeholder 6">
            <a:extLst>
              <a:ext uri="{FF2B5EF4-FFF2-40B4-BE49-F238E27FC236}">
                <a16:creationId xmlns:a16="http://schemas.microsoft.com/office/drawing/2014/main" id="{41153F55-3165-4F01-99C3-0195F3E54F8E}"/>
              </a:ext>
            </a:extLst>
          </p:cNvPr>
          <p:cNvSpPr>
            <a:spLocks noGrp="1"/>
          </p:cNvSpPr>
          <p:nvPr>
            <p:ph type="body" sz="quarter" idx="12" hasCustomPrompt="1"/>
          </p:nvPr>
        </p:nvSpPr>
        <p:spPr>
          <a:xfrm>
            <a:off x="382396" y="3244406"/>
            <a:ext cx="3322956" cy="528637"/>
          </a:xfrm>
        </p:spPr>
        <p:txBody>
          <a:bodyPr/>
          <a:lstStyle>
            <a:lvl1pPr algn="r">
              <a:defRPr sz="2000">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en-US" dirty="0"/>
              <a:t>Goal 4. e-Ukraine UltraLight </a:t>
            </a:r>
            <a:r>
              <a:rPr lang="en-US" dirty="0" err="1"/>
              <a:t>SemiBold</a:t>
            </a:r>
            <a:r>
              <a:rPr lang="en-US" dirty="0"/>
              <a:t> 20</a:t>
            </a:r>
          </a:p>
        </p:txBody>
      </p:sp>
      <p:sp>
        <p:nvSpPr>
          <p:cNvPr id="14" name="Text Placeholder 10">
            <a:extLst>
              <a:ext uri="{FF2B5EF4-FFF2-40B4-BE49-F238E27FC236}">
                <a16:creationId xmlns:a16="http://schemas.microsoft.com/office/drawing/2014/main" id="{C7D1B35D-0F85-42B8-9CD4-03023F6F0FD5}"/>
              </a:ext>
            </a:extLst>
          </p:cNvPr>
          <p:cNvSpPr>
            <a:spLocks noGrp="1"/>
          </p:cNvSpPr>
          <p:nvPr>
            <p:ph type="body" sz="quarter" idx="13" hasCustomPrompt="1"/>
          </p:nvPr>
        </p:nvSpPr>
        <p:spPr>
          <a:xfrm>
            <a:off x="382397" y="3991341"/>
            <a:ext cx="3322956" cy="1493202"/>
          </a:xfrm>
        </p:spPr>
        <p:txBody>
          <a:bodyPr/>
          <a:lstStyle>
            <a:lvl1pPr algn="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5" name="Text Placeholder 6">
            <a:extLst>
              <a:ext uri="{FF2B5EF4-FFF2-40B4-BE49-F238E27FC236}">
                <a16:creationId xmlns:a16="http://schemas.microsoft.com/office/drawing/2014/main" id="{4B3900D2-A2BA-4CEF-B9F9-4FA20D7609CA}"/>
              </a:ext>
            </a:extLst>
          </p:cNvPr>
          <p:cNvSpPr>
            <a:spLocks noGrp="1"/>
          </p:cNvSpPr>
          <p:nvPr>
            <p:ph type="body" sz="quarter" idx="14" hasCustomPrompt="1"/>
          </p:nvPr>
        </p:nvSpPr>
        <p:spPr>
          <a:xfrm>
            <a:off x="8328306" y="2758929"/>
            <a:ext cx="3322956" cy="528637"/>
          </a:xfrm>
        </p:spPr>
        <p:txBody>
          <a:bodyPr/>
          <a:lstStyle>
            <a:lvl1pPr>
              <a:defRPr sz="2000">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en-US" dirty="0"/>
              <a:t>Goal 2. e-Ukraine UltraLight. </a:t>
            </a:r>
            <a:r>
              <a:rPr lang="en-US" dirty="0" err="1"/>
              <a:t>SemiBold</a:t>
            </a:r>
            <a:r>
              <a:rPr lang="en-US" dirty="0"/>
              <a:t> 20</a:t>
            </a:r>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8328307" y="3505864"/>
            <a:ext cx="3322956" cy="1493202"/>
          </a:xfrm>
        </p:spPr>
        <p:txBody>
          <a:bodyPr/>
          <a:lstStyle>
            <a:lvl1pP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sp>
        <p:nvSpPr>
          <p:cNvPr id="17" name="Text Placeholder 6">
            <a:extLst>
              <a:ext uri="{FF2B5EF4-FFF2-40B4-BE49-F238E27FC236}">
                <a16:creationId xmlns:a16="http://schemas.microsoft.com/office/drawing/2014/main" id="{D6E93D9F-3DA6-47CA-9A2E-F77FA3AEE95F}"/>
              </a:ext>
            </a:extLst>
          </p:cNvPr>
          <p:cNvSpPr>
            <a:spLocks noGrp="1"/>
          </p:cNvSpPr>
          <p:nvPr>
            <p:ph type="body" sz="quarter" idx="16" hasCustomPrompt="1"/>
          </p:nvPr>
        </p:nvSpPr>
        <p:spPr>
          <a:xfrm>
            <a:off x="5458805" y="5437632"/>
            <a:ext cx="3322956" cy="528637"/>
          </a:xfrm>
        </p:spPr>
        <p:txBody>
          <a:bodyPr/>
          <a:lstStyle>
            <a:lvl1pPr>
              <a:defRPr sz="2000">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en-US" dirty="0"/>
              <a:t>Goal 3. e-Ukraine UltraLight </a:t>
            </a:r>
            <a:r>
              <a:rPr lang="en-US" dirty="0" err="1"/>
              <a:t>SemiBold</a:t>
            </a:r>
            <a:r>
              <a:rPr lang="en-US" dirty="0"/>
              <a:t> 20</a:t>
            </a:r>
          </a:p>
        </p:txBody>
      </p:sp>
      <p:sp>
        <p:nvSpPr>
          <p:cNvPr id="18" name="Text Placeholder 10">
            <a:extLst>
              <a:ext uri="{FF2B5EF4-FFF2-40B4-BE49-F238E27FC236}">
                <a16:creationId xmlns:a16="http://schemas.microsoft.com/office/drawing/2014/main" id="{686B627E-5203-4B50-8481-5FDF27DBEF23}"/>
              </a:ext>
            </a:extLst>
          </p:cNvPr>
          <p:cNvSpPr>
            <a:spLocks noGrp="1"/>
          </p:cNvSpPr>
          <p:nvPr>
            <p:ph type="body" sz="quarter" idx="17" hasCustomPrompt="1"/>
          </p:nvPr>
        </p:nvSpPr>
        <p:spPr>
          <a:xfrm>
            <a:off x="5458806" y="6184567"/>
            <a:ext cx="3322956" cy="1252577"/>
          </a:xfrm>
        </p:spPr>
        <p:txBody>
          <a:bodyPr/>
          <a:lstStyle>
            <a:lvl1pPr>
              <a:defRPr sz="2000">
                <a:latin typeface="e-Ukraine UltraLight" panose="00000500000000000000" pitchFamily="2"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en-US" dirty="0"/>
              <a:t>Description text. e-Ukraine UltraLight 20</a:t>
            </a:r>
          </a:p>
        </p:txBody>
      </p:sp>
      <p:pic>
        <p:nvPicPr>
          <p:cNvPr id="3" name="Graphic 2">
            <a:extLst>
              <a:ext uri="{FF2B5EF4-FFF2-40B4-BE49-F238E27FC236}">
                <a16:creationId xmlns:a16="http://schemas.microsoft.com/office/drawing/2014/main" id="{9E2D6FC1-7F5A-4CCD-A339-4BEA2C4345CA}"/>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9438639" y="341550"/>
            <a:ext cx="2094549" cy="581819"/>
          </a:xfrm>
          <a:prstGeom prst="rect">
            <a:avLst/>
          </a:prstGeom>
        </p:spPr>
      </p:pic>
      <p:grpSp>
        <p:nvGrpSpPr>
          <p:cNvPr id="20" name="Group 19">
            <a:extLst>
              <a:ext uri="{FF2B5EF4-FFF2-40B4-BE49-F238E27FC236}">
                <a16:creationId xmlns:a16="http://schemas.microsoft.com/office/drawing/2014/main" id="{7D794DD9-DC57-439A-B1D4-3187E9AE84A1}"/>
              </a:ext>
            </a:extLst>
          </p:cNvPr>
          <p:cNvGrpSpPr/>
          <p:nvPr userDrawn="1"/>
        </p:nvGrpSpPr>
        <p:grpSpPr>
          <a:xfrm>
            <a:off x="0" y="209380"/>
            <a:ext cx="12192000" cy="900000"/>
            <a:chOff x="0" y="209380"/>
            <a:chExt cx="12192000" cy="900000"/>
          </a:xfrm>
        </p:grpSpPr>
        <p:sp>
          <p:nvSpPr>
            <p:cNvPr id="22" name="Freeform: Shape 21">
              <a:extLst>
                <a:ext uri="{FF2B5EF4-FFF2-40B4-BE49-F238E27FC236}">
                  <a16:creationId xmlns:a16="http://schemas.microsoft.com/office/drawing/2014/main" id="{F1F8FC39-D18F-456A-BC38-8AE6B8275DB0}"/>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3" name="Graphic 22">
              <a:extLst>
                <a:ext uri="{FF2B5EF4-FFF2-40B4-BE49-F238E27FC236}">
                  <a16:creationId xmlns:a16="http://schemas.microsoft.com/office/drawing/2014/main" id="{B6CA07EE-8EBB-4CFA-9782-5A164A03AF21}"/>
                </a:ext>
              </a:extLst>
            </p:cNvPr>
            <p:cNvGrpSpPr/>
            <p:nvPr/>
          </p:nvGrpSpPr>
          <p:grpSpPr>
            <a:xfrm>
              <a:off x="10915649" y="368867"/>
              <a:ext cx="581025" cy="581025"/>
              <a:chOff x="11049699" y="311944"/>
              <a:chExt cx="446976" cy="446976"/>
            </a:xfrm>
          </p:grpSpPr>
          <p:sp>
            <p:nvSpPr>
              <p:cNvPr id="24" name="Freeform: Shape 23">
                <a:extLst>
                  <a:ext uri="{FF2B5EF4-FFF2-40B4-BE49-F238E27FC236}">
                    <a16:creationId xmlns:a16="http://schemas.microsoft.com/office/drawing/2014/main" id="{0EBB0EBC-9C4A-4649-9444-248A3EF45C94}"/>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FA7472F1-79E0-4152-94FD-2E66FC5C6904}"/>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96F27C5A-B741-4F08-8BDC-F6F8B26CD9B1}"/>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5FB9CE7A-35BA-4079-9244-E95B75128B6F}"/>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34B80420-0F87-4546-8596-A94E47C4983E}"/>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1C6B0110-D963-4508-A3B9-B05C0F30C206}"/>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0FB0FD39-4B8A-4D74-9DD3-6C3D7431FF7A}"/>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DA5BC8E9-B079-414E-AF58-ED29DABF20AA}"/>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3BD4F7F6-6BDE-4E70-818E-6A77F7CA57D0}"/>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11510F4-9AAF-4C3D-93AD-017E93007564}"/>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771A35A-65CD-4AC5-8826-E10E0EF11B87}"/>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D79E3008-CE8F-4C60-BE8F-933831BE9D30}"/>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B5C53D67-26C0-4A2B-BB3E-1A166E39F2FE}"/>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1A0E9662-56D1-430B-BB78-D892E4C265CF}"/>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1BC8A1F0-42FC-40DB-9D11-36B6B86B7C0C}"/>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A6A3975-E9A1-46F0-AA0D-E20C007292D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1C769365-7386-452F-AE6C-3B99C16B8D39}"/>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FF7C93BC-E546-4BCA-A964-88C732567E2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2" name="Title 11">
            <a:extLst>
              <a:ext uri="{FF2B5EF4-FFF2-40B4-BE49-F238E27FC236}">
                <a16:creationId xmlns:a16="http://schemas.microsoft.com/office/drawing/2014/main" id="{A55DEC3E-FE8A-4F82-953E-9D538C2EBD5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Цілі</a:t>
            </a:r>
            <a:endParaRPr lang="en-US" dirty="0"/>
          </a:p>
        </p:txBody>
      </p:sp>
      <p:sp>
        <p:nvSpPr>
          <p:cNvPr id="47" name="Slide Number Placeholder 8">
            <a:extLst>
              <a:ext uri="{FF2B5EF4-FFF2-40B4-BE49-F238E27FC236}">
                <a16:creationId xmlns:a16="http://schemas.microsoft.com/office/drawing/2014/main" id="{6B5A2D4B-F41C-4023-8BAB-29889B7FCA8E}"/>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29832552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2">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16811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4" name="Text Placeholder 23">
            <a:extLst>
              <a:ext uri="{FF2B5EF4-FFF2-40B4-BE49-F238E27FC236}">
                <a16:creationId xmlns:a16="http://schemas.microsoft.com/office/drawing/2014/main" id="{F0737FB0-9B4B-4D5B-A343-3069BE9127BC}"/>
              </a:ext>
            </a:extLst>
          </p:cNvPr>
          <p:cNvSpPr>
            <a:spLocks noGrp="1"/>
          </p:cNvSpPr>
          <p:nvPr>
            <p:ph type="body" sz="quarter" idx="10" hasCustomPrompt="1"/>
          </p:nvPr>
        </p:nvSpPr>
        <p:spPr>
          <a:xfrm>
            <a:off x="695325" y="1290320"/>
            <a:ext cx="2673472" cy="1386852"/>
          </a:xfrm>
        </p:spPr>
        <p:txBody>
          <a:bodyPr anchor="b"/>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28" name="Text Placeholder 6">
            <a:extLst>
              <a:ext uri="{FF2B5EF4-FFF2-40B4-BE49-F238E27FC236}">
                <a16:creationId xmlns:a16="http://schemas.microsoft.com/office/drawing/2014/main" id="{7A7CB056-5063-40F3-9148-53105EBF4308}"/>
              </a:ext>
            </a:extLst>
          </p:cNvPr>
          <p:cNvSpPr>
            <a:spLocks noGrp="1"/>
          </p:cNvSpPr>
          <p:nvPr>
            <p:ph type="body" sz="quarter" idx="11" hasCustomPrompt="1"/>
          </p:nvPr>
        </p:nvSpPr>
        <p:spPr>
          <a:xfrm>
            <a:off x="695325" y="2551588"/>
            <a:ext cx="3322956" cy="528637"/>
          </a:xfrm>
        </p:spPr>
        <p:txBody>
          <a:bodyPr/>
          <a:lstStyle>
            <a:lvl1pPr>
              <a:spcAft>
                <a:spcPts val="0"/>
              </a:spcAft>
              <a:defRPr sz="20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20 pt.</a:t>
            </a:r>
          </a:p>
        </p:txBody>
      </p:sp>
      <p:sp>
        <p:nvSpPr>
          <p:cNvPr id="29" name="Text Placeholder 10">
            <a:extLst>
              <a:ext uri="{FF2B5EF4-FFF2-40B4-BE49-F238E27FC236}">
                <a16:creationId xmlns:a16="http://schemas.microsoft.com/office/drawing/2014/main" id="{5CDE6B86-9C34-4821-858E-EBDDC1FC7764}"/>
              </a:ext>
            </a:extLst>
          </p:cNvPr>
          <p:cNvSpPr>
            <a:spLocks noGrp="1"/>
          </p:cNvSpPr>
          <p:nvPr>
            <p:ph type="body" sz="quarter" idx="12" hasCustomPrompt="1"/>
          </p:nvPr>
        </p:nvSpPr>
        <p:spPr>
          <a:xfrm>
            <a:off x="695325" y="3226775"/>
            <a:ext cx="3322956" cy="706930"/>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20 pt.</a:t>
            </a:r>
          </a:p>
        </p:txBody>
      </p:sp>
      <p:sp>
        <p:nvSpPr>
          <p:cNvPr id="20" name="Text Placeholder 23">
            <a:extLst>
              <a:ext uri="{FF2B5EF4-FFF2-40B4-BE49-F238E27FC236}">
                <a16:creationId xmlns:a16="http://schemas.microsoft.com/office/drawing/2014/main" id="{6876F0A9-0A5C-499E-8E0D-1B330C041290}"/>
              </a:ext>
            </a:extLst>
          </p:cNvPr>
          <p:cNvSpPr>
            <a:spLocks noGrp="1"/>
          </p:cNvSpPr>
          <p:nvPr>
            <p:ph type="body" sz="quarter" idx="13" hasCustomPrompt="1"/>
          </p:nvPr>
        </p:nvSpPr>
        <p:spPr>
          <a:xfrm>
            <a:off x="4452779" y="1290320"/>
            <a:ext cx="2673472" cy="1386852"/>
          </a:xfrm>
        </p:spPr>
        <p:txBody>
          <a:bodyPr anchor="b"/>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21" name="Text Placeholder 6">
            <a:extLst>
              <a:ext uri="{FF2B5EF4-FFF2-40B4-BE49-F238E27FC236}">
                <a16:creationId xmlns:a16="http://schemas.microsoft.com/office/drawing/2014/main" id="{B21DEFA4-6CE7-4AAB-9091-781EA43395D9}"/>
              </a:ext>
            </a:extLst>
          </p:cNvPr>
          <p:cNvSpPr>
            <a:spLocks noGrp="1"/>
          </p:cNvSpPr>
          <p:nvPr>
            <p:ph type="body" sz="quarter" idx="14" hasCustomPrompt="1"/>
          </p:nvPr>
        </p:nvSpPr>
        <p:spPr>
          <a:xfrm>
            <a:off x="4452779" y="2551588"/>
            <a:ext cx="3322956" cy="528637"/>
          </a:xfrm>
        </p:spPr>
        <p:txBody>
          <a:bodyPr/>
          <a:lstStyle>
            <a:lvl1pPr>
              <a:spcAft>
                <a:spcPts val="0"/>
              </a:spcAft>
              <a:defRPr sz="2000">
                <a:solidFill>
                  <a:schemeClr val="accent2"/>
                </a:solidFill>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20 pt.</a:t>
            </a:r>
          </a:p>
        </p:txBody>
      </p:sp>
      <p:sp>
        <p:nvSpPr>
          <p:cNvPr id="22" name="Text Placeholder 10">
            <a:extLst>
              <a:ext uri="{FF2B5EF4-FFF2-40B4-BE49-F238E27FC236}">
                <a16:creationId xmlns:a16="http://schemas.microsoft.com/office/drawing/2014/main" id="{1DA0485A-1D61-4850-B402-C5C1D23FDFF1}"/>
              </a:ext>
            </a:extLst>
          </p:cNvPr>
          <p:cNvSpPr>
            <a:spLocks noGrp="1"/>
          </p:cNvSpPr>
          <p:nvPr>
            <p:ph type="body" sz="quarter" idx="15" hasCustomPrompt="1"/>
          </p:nvPr>
        </p:nvSpPr>
        <p:spPr>
          <a:xfrm>
            <a:off x="4452779" y="3226775"/>
            <a:ext cx="3322956" cy="706930"/>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20 pt.</a:t>
            </a:r>
          </a:p>
        </p:txBody>
      </p:sp>
      <p:sp>
        <p:nvSpPr>
          <p:cNvPr id="47" name="Text Placeholder 23">
            <a:extLst>
              <a:ext uri="{FF2B5EF4-FFF2-40B4-BE49-F238E27FC236}">
                <a16:creationId xmlns:a16="http://schemas.microsoft.com/office/drawing/2014/main" id="{5474BEC1-0918-4632-9522-D8D0E6818728}"/>
              </a:ext>
            </a:extLst>
          </p:cNvPr>
          <p:cNvSpPr>
            <a:spLocks noGrp="1"/>
          </p:cNvSpPr>
          <p:nvPr>
            <p:ph type="body" sz="quarter" idx="19" hasCustomPrompt="1"/>
          </p:nvPr>
        </p:nvSpPr>
        <p:spPr>
          <a:xfrm>
            <a:off x="695325" y="4005275"/>
            <a:ext cx="2673472" cy="1386852"/>
          </a:xfrm>
        </p:spPr>
        <p:txBody>
          <a:bodyPr anchor="b"/>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48" name="Text Placeholder 6">
            <a:extLst>
              <a:ext uri="{FF2B5EF4-FFF2-40B4-BE49-F238E27FC236}">
                <a16:creationId xmlns:a16="http://schemas.microsoft.com/office/drawing/2014/main" id="{01390F3B-DD7D-4C13-A894-7FE04E2D6614}"/>
              </a:ext>
            </a:extLst>
          </p:cNvPr>
          <p:cNvSpPr>
            <a:spLocks noGrp="1"/>
          </p:cNvSpPr>
          <p:nvPr>
            <p:ph type="body" sz="quarter" idx="20" hasCustomPrompt="1"/>
          </p:nvPr>
        </p:nvSpPr>
        <p:spPr>
          <a:xfrm>
            <a:off x="695325" y="5266543"/>
            <a:ext cx="3322956" cy="528637"/>
          </a:xfrm>
        </p:spPr>
        <p:txBody>
          <a:bodyPr/>
          <a:lstStyle>
            <a:lvl1pPr>
              <a:spcAft>
                <a:spcPts val="0"/>
              </a:spcAft>
              <a:defRPr sz="2000">
                <a:solidFill>
                  <a:schemeClr val="accent2"/>
                </a:solidFill>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20 pt.</a:t>
            </a:r>
          </a:p>
        </p:txBody>
      </p:sp>
      <p:sp>
        <p:nvSpPr>
          <p:cNvPr id="49" name="Text Placeholder 10">
            <a:extLst>
              <a:ext uri="{FF2B5EF4-FFF2-40B4-BE49-F238E27FC236}">
                <a16:creationId xmlns:a16="http://schemas.microsoft.com/office/drawing/2014/main" id="{1B6E763E-041A-4666-B74D-1845E23A7A60}"/>
              </a:ext>
            </a:extLst>
          </p:cNvPr>
          <p:cNvSpPr>
            <a:spLocks noGrp="1"/>
          </p:cNvSpPr>
          <p:nvPr>
            <p:ph type="body" sz="quarter" idx="21" hasCustomPrompt="1"/>
          </p:nvPr>
        </p:nvSpPr>
        <p:spPr>
          <a:xfrm>
            <a:off x="695325" y="5941730"/>
            <a:ext cx="3322956" cy="706930"/>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20 pt.</a:t>
            </a:r>
          </a:p>
        </p:txBody>
      </p:sp>
      <p:sp>
        <p:nvSpPr>
          <p:cNvPr id="50" name="Text Placeholder 23">
            <a:extLst>
              <a:ext uri="{FF2B5EF4-FFF2-40B4-BE49-F238E27FC236}">
                <a16:creationId xmlns:a16="http://schemas.microsoft.com/office/drawing/2014/main" id="{77DAC6C2-3D6E-4CE1-A3B9-0D968A735027}"/>
              </a:ext>
            </a:extLst>
          </p:cNvPr>
          <p:cNvSpPr>
            <a:spLocks noGrp="1"/>
          </p:cNvSpPr>
          <p:nvPr>
            <p:ph type="body" sz="quarter" idx="22" hasCustomPrompt="1"/>
          </p:nvPr>
        </p:nvSpPr>
        <p:spPr>
          <a:xfrm>
            <a:off x="4452779" y="4005275"/>
            <a:ext cx="2673472" cy="1386852"/>
          </a:xfrm>
        </p:spPr>
        <p:txBody>
          <a:bodyPr anchor="b"/>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51" name="Text Placeholder 6">
            <a:extLst>
              <a:ext uri="{FF2B5EF4-FFF2-40B4-BE49-F238E27FC236}">
                <a16:creationId xmlns:a16="http://schemas.microsoft.com/office/drawing/2014/main" id="{C566A294-3D55-463E-B830-DC046C2D708B}"/>
              </a:ext>
            </a:extLst>
          </p:cNvPr>
          <p:cNvSpPr>
            <a:spLocks noGrp="1"/>
          </p:cNvSpPr>
          <p:nvPr>
            <p:ph type="body" sz="quarter" idx="23" hasCustomPrompt="1"/>
          </p:nvPr>
        </p:nvSpPr>
        <p:spPr>
          <a:xfrm>
            <a:off x="4452779" y="5266543"/>
            <a:ext cx="3322956" cy="528637"/>
          </a:xfrm>
        </p:spPr>
        <p:txBody>
          <a:bodyPr/>
          <a:lstStyle>
            <a:lvl1pPr>
              <a:spcAft>
                <a:spcPts val="0"/>
              </a:spcAft>
              <a:defRPr sz="2000">
                <a:solidFill>
                  <a:schemeClr val="accent2"/>
                </a:solidFill>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20 pt.</a:t>
            </a:r>
          </a:p>
        </p:txBody>
      </p:sp>
      <p:sp>
        <p:nvSpPr>
          <p:cNvPr id="52" name="Text Placeholder 10">
            <a:extLst>
              <a:ext uri="{FF2B5EF4-FFF2-40B4-BE49-F238E27FC236}">
                <a16:creationId xmlns:a16="http://schemas.microsoft.com/office/drawing/2014/main" id="{07977A13-BBFC-4F92-A828-72E9A37D9CCB}"/>
              </a:ext>
            </a:extLst>
          </p:cNvPr>
          <p:cNvSpPr>
            <a:spLocks noGrp="1"/>
          </p:cNvSpPr>
          <p:nvPr>
            <p:ph type="body" sz="quarter" idx="24" hasCustomPrompt="1"/>
          </p:nvPr>
        </p:nvSpPr>
        <p:spPr>
          <a:xfrm>
            <a:off x="4452779" y="5941730"/>
            <a:ext cx="3322956" cy="706930"/>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20 pt.</a:t>
            </a:r>
          </a:p>
        </p:txBody>
      </p:sp>
      <p:grpSp>
        <p:nvGrpSpPr>
          <p:cNvPr id="31" name="Group 30">
            <a:extLst>
              <a:ext uri="{FF2B5EF4-FFF2-40B4-BE49-F238E27FC236}">
                <a16:creationId xmlns:a16="http://schemas.microsoft.com/office/drawing/2014/main" id="{11C2FE82-9FE9-44DA-9878-DC38F4EFA1E3}"/>
              </a:ext>
            </a:extLst>
          </p:cNvPr>
          <p:cNvGrpSpPr/>
          <p:nvPr userDrawn="1"/>
        </p:nvGrpSpPr>
        <p:grpSpPr>
          <a:xfrm>
            <a:off x="0" y="209380"/>
            <a:ext cx="12192000" cy="900000"/>
            <a:chOff x="0" y="209380"/>
            <a:chExt cx="12192000" cy="900000"/>
          </a:xfrm>
        </p:grpSpPr>
        <p:sp>
          <p:nvSpPr>
            <p:cNvPr id="32" name="Freeform: Shape 31">
              <a:extLst>
                <a:ext uri="{FF2B5EF4-FFF2-40B4-BE49-F238E27FC236}">
                  <a16:creationId xmlns:a16="http://schemas.microsoft.com/office/drawing/2014/main" id="{343CE0D2-21C0-4EF6-BFA0-61BC33C36E3D}"/>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33" name="Graphic 22">
              <a:extLst>
                <a:ext uri="{FF2B5EF4-FFF2-40B4-BE49-F238E27FC236}">
                  <a16:creationId xmlns:a16="http://schemas.microsoft.com/office/drawing/2014/main" id="{719C46DB-5720-4A8C-AEE6-37A24877277E}"/>
                </a:ext>
              </a:extLst>
            </p:cNvPr>
            <p:cNvGrpSpPr/>
            <p:nvPr/>
          </p:nvGrpSpPr>
          <p:grpSpPr>
            <a:xfrm>
              <a:off x="10915649" y="368867"/>
              <a:ext cx="581025" cy="581025"/>
              <a:chOff x="11049699" y="311944"/>
              <a:chExt cx="446976" cy="446976"/>
            </a:xfrm>
          </p:grpSpPr>
          <p:sp>
            <p:nvSpPr>
              <p:cNvPr id="34" name="Freeform: Shape 33">
                <a:extLst>
                  <a:ext uri="{FF2B5EF4-FFF2-40B4-BE49-F238E27FC236}">
                    <a16:creationId xmlns:a16="http://schemas.microsoft.com/office/drawing/2014/main" id="{CABBAF61-A414-492D-892F-05DC464B2A3A}"/>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FCB023BB-C444-4477-A1B4-83229F3A346B}"/>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9D6F9F19-7084-4073-9852-D0F06AE1BA8C}"/>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FCBFA74C-8D02-47F4-8E6D-A1019948242F}"/>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40A2001A-FFF4-405D-B000-47DB7A7EC174}"/>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A6A10054-8D9C-4708-9E73-7EB71D090318}"/>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B1FCC45C-1ECD-46A3-845E-6317F0213E8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AF4EC861-B172-4585-AA5E-BF0478190071}"/>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E9992134-A444-442C-A118-F5CC01CCCE79}"/>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B371CFB7-1FB9-4CD1-8ECE-8834E0EC0B49}"/>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CAE1531D-96F8-4014-AD58-A9CE3B6B3A8A}"/>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9B161170-6A2E-4213-BE87-52B3B78363B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6" name="Freeform: Shape 45">
                <a:extLst>
                  <a:ext uri="{FF2B5EF4-FFF2-40B4-BE49-F238E27FC236}">
                    <a16:creationId xmlns:a16="http://schemas.microsoft.com/office/drawing/2014/main" id="{DD1F28DC-BE4B-49C8-8187-051E0E30780E}"/>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53" name="Freeform: Shape 52">
                <a:extLst>
                  <a:ext uri="{FF2B5EF4-FFF2-40B4-BE49-F238E27FC236}">
                    <a16:creationId xmlns:a16="http://schemas.microsoft.com/office/drawing/2014/main" id="{7BBD18B7-46AA-492C-B09E-5B03FD4A7D79}"/>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54" name="Freeform: Shape 53">
                <a:extLst>
                  <a:ext uri="{FF2B5EF4-FFF2-40B4-BE49-F238E27FC236}">
                    <a16:creationId xmlns:a16="http://schemas.microsoft.com/office/drawing/2014/main" id="{FE2789C7-1383-4FBD-BCA8-30BC7DF6DBFD}"/>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55" name="Freeform: Shape 54">
                <a:extLst>
                  <a:ext uri="{FF2B5EF4-FFF2-40B4-BE49-F238E27FC236}">
                    <a16:creationId xmlns:a16="http://schemas.microsoft.com/office/drawing/2014/main" id="{AFA71F53-52AE-4464-B9FC-3E3BE8226364}"/>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56" name="Freeform: Shape 55">
                <a:extLst>
                  <a:ext uri="{FF2B5EF4-FFF2-40B4-BE49-F238E27FC236}">
                    <a16:creationId xmlns:a16="http://schemas.microsoft.com/office/drawing/2014/main" id="{CC784F07-93A2-4495-B93A-7BFAAEFCB80B}"/>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57" name="Freeform: Shape 56">
                <a:extLst>
                  <a:ext uri="{FF2B5EF4-FFF2-40B4-BE49-F238E27FC236}">
                    <a16:creationId xmlns:a16="http://schemas.microsoft.com/office/drawing/2014/main" id="{8A7F6FD8-3BB2-4768-9C04-F9DCCA4D5AC4}"/>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58" name="Title 11">
            <a:extLst>
              <a:ext uri="{FF2B5EF4-FFF2-40B4-BE49-F238E27FC236}">
                <a16:creationId xmlns:a16="http://schemas.microsoft.com/office/drawing/2014/main" id="{604E88C8-FE90-4C73-90BC-202AC4052838}"/>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5-6</a:t>
            </a:r>
            <a:r>
              <a:rPr lang="en-US" dirty="0"/>
              <a:t> </a:t>
            </a:r>
            <a:r>
              <a:rPr lang="uk-UA" dirty="0"/>
              <a:t>ключових значень</a:t>
            </a:r>
            <a:endParaRPr lang="en-US" dirty="0"/>
          </a:p>
        </p:txBody>
      </p:sp>
      <p:sp>
        <p:nvSpPr>
          <p:cNvPr id="59" name="Text Placeholder 23">
            <a:extLst>
              <a:ext uri="{FF2B5EF4-FFF2-40B4-BE49-F238E27FC236}">
                <a16:creationId xmlns:a16="http://schemas.microsoft.com/office/drawing/2014/main" id="{B214F217-0A04-4716-AABE-B91A2E4EDE54}"/>
              </a:ext>
            </a:extLst>
          </p:cNvPr>
          <p:cNvSpPr>
            <a:spLocks noGrp="1"/>
          </p:cNvSpPr>
          <p:nvPr>
            <p:ph type="body" sz="quarter" idx="25" hasCustomPrompt="1"/>
          </p:nvPr>
        </p:nvSpPr>
        <p:spPr>
          <a:xfrm>
            <a:off x="8146744" y="1290320"/>
            <a:ext cx="2673472" cy="1386852"/>
          </a:xfrm>
        </p:spPr>
        <p:txBody>
          <a:bodyPr anchor="b"/>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60" name="Text Placeholder 6">
            <a:extLst>
              <a:ext uri="{FF2B5EF4-FFF2-40B4-BE49-F238E27FC236}">
                <a16:creationId xmlns:a16="http://schemas.microsoft.com/office/drawing/2014/main" id="{2423A82F-FC02-477F-9856-B112CA8FAC31}"/>
              </a:ext>
            </a:extLst>
          </p:cNvPr>
          <p:cNvSpPr>
            <a:spLocks noGrp="1"/>
          </p:cNvSpPr>
          <p:nvPr>
            <p:ph type="body" sz="quarter" idx="26" hasCustomPrompt="1"/>
          </p:nvPr>
        </p:nvSpPr>
        <p:spPr>
          <a:xfrm>
            <a:off x="8146744" y="2551588"/>
            <a:ext cx="3322956" cy="528637"/>
          </a:xfrm>
        </p:spPr>
        <p:txBody>
          <a:bodyPr/>
          <a:lstStyle>
            <a:lvl1pPr>
              <a:spcAft>
                <a:spcPts val="0"/>
              </a:spcAft>
              <a:defRPr sz="2000">
                <a:solidFill>
                  <a:schemeClr val="accent2"/>
                </a:solidFill>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20 pt.</a:t>
            </a:r>
          </a:p>
        </p:txBody>
      </p:sp>
      <p:sp>
        <p:nvSpPr>
          <p:cNvPr id="61" name="Text Placeholder 10">
            <a:extLst>
              <a:ext uri="{FF2B5EF4-FFF2-40B4-BE49-F238E27FC236}">
                <a16:creationId xmlns:a16="http://schemas.microsoft.com/office/drawing/2014/main" id="{41F607C9-2A17-4BC9-A0D5-3DE276910D30}"/>
              </a:ext>
            </a:extLst>
          </p:cNvPr>
          <p:cNvSpPr>
            <a:spLocks noGrp="1"/>
          </p:cNvSpPr>
          <p:nvPr>
            <p:ph type="body" sz="quarter" idx="27" hasCustomPrompt="1"/>
          </p:nvPr>
        </p:nvSpPr>
        <p:spPr>
          <a:xfrm>
            <a:off x="8146744" y="3226775"/>
            <a:ext cx="3322956" cy="706930"/>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20 pt.</a:t>
            </a:r>
          </a:p>
        </p:txBody>
      </p:sp>
      <p:sp>
        <p:nvSpPr>
          <p:cNvPr id="62" name="Text Placeholder 23">
            <a:extLst>
              <a:ext uri="{FF2B5EF4-FFF2-40B4-BE49-F238E27FC236}">
                <a16:creationId xmlns:a16="http://schemas.microsoft.com/office/drawing/2014/main" id="{88F000DC-378D-434B-B031-E608BFF51526}"/>
              </a:ext>
            </a:extLst>
          </p:cNvPr>
          <p:cNvSpPr>
            <a:spLocks noGrp="1"/>
          </p:cNvSpPr>
          <p:nvPr>
            <p:ph type="body" sz="quarter" idx="28" hasCustomPrompt="1"/>
          </p:nvPr>
        </p:nvSpPr>
        <p:spPr>
          <a:xfrm>
            <a:off x="8146744" y="4005275"/>
            <a:ext cx="2673472" cy="1386852"/>
          </a:xfrm>
        </p:spPr>
        <p:txBody>
          <a:bodyPr anchor="b"/>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p>
        </p:txBody>
      </p:sp>
      <p:sp>
        <p:nvSpPr>
          <p:cNvPr id="63" name="Text Placeholder 6">
            <a:extLst>
              <a:ext uri="{FF2B5EF4-FFF2-40B4-BE49-F238E27FC236}">
                <a16:creationId xmlns:a16="http://schemas.microsoft.com/office/drawing/2014/main" id="{AAE9A582-8EFA-4773-9152-768C3E6FD461}"/>
              </a:ext>
            </a:extLst>
          </p:cNvPr>
          <p:cNvSpPr>
            <a:spLocks noGrp="1"/>
          </p:cNvSpPr>
          <p:nvPr>
            <p:ph type="body" sz="quarter" idx="29" hasCustomPrompt="1"/>
          </p:nvPr>
        </p:nvSpPr>
        <p:spPr>
          <a:xfrm>
            <a:off x="8146744" y="5266543"/>
            <a:ext cx="3322956" cy="528637"/>
          </a:xfrm>
        </p:spPr>
        <p:txBody>
          <a:bodyPr/>
          <a:lstStyle>
            <a:lvl1pPr>
              <a:spcAft>
                <a:spcPts val="0"/>
              </a:spcAft>
              <a:defRPr sz="2000">
                <a:solidFill>
                  <a:schemeClr val="accent2"/>
                </a:solidFill>
                <a:latin typeface="e-Ukraine UltraLight" panose="00000700000000000000" pitchFamily="2" charset="0"/>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20 pt.</a:t>
            </a:r>
          </a:p>
        </p:txBody>
      </p:sp>
      <p:sp>
        <p:nvSpPr>
          <p:cNvPr id="64" name="Text Placeholder 10">
            <a:extLst>
              <a:ext uri="{FF2B5EF4-FFF2-40B4-BE49-F238E27FC236}">
                <a16:creationId xmlns:a16="http://schemas.microsoft.com/office/drawing/2014/main" id="{01AD6B78-AA33-4694-989D-4D08DAF79007}"/>
              </a:ext>
            </a:extLst>
          </p:cNvPr>
          <p:cNvSpPr>
            <a:spLocks noGrp="1"/>
          </p:cNvSpPr>
          <p:nvPr>
            <p:ph type="body" sz="quarter" idx="30" hasCustomPrompt="1"/>
          </p:nvPr>
        </p:nvSpPr>
        <p:spPr>
          <a:xfrm>
            <a:off x="8146744" y="5941730"/>
            <a:ext cx="3322956" cy="706930"/>
          </a:xfrm>
        </p:spPr>
        <p:txBody>
          <a:bodyPr/>
          <a:lstStyle>
            <a:lvl1pPr>
              <a:spcAft>
                <a:spcPts val="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20 pt.</a:t>
            </a:r>
          </a:p>
        </p:txBody>
      </p:sp>
      <p:sp>
        <p:nvSpPr>
          <p:cNvPr id="67" name="Slide Number Placeholder 8">
            <a:extLst>
              <a:ext uri="{FF2B5EF4-FFF2-40B4-BE49-F238E27FC236}">
                <a16:creationId xmlns:a16="http://schemas.microsoft.com/office/drawing/2014/main" id="{A7AF9DC9-D4CF-4B86-AE96-58E3709EB39A}"/>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426851763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Зміст">
    <p:bg>
      <p:bgRef idx="1001">
        <a:schemeClr val="bg1"/>
      </p:bgRef>
    </p:bg>
    <p:spTree>
      <p:nvGrpSpPr>
        <p:cNvPr id="1" name=""/>
        <p:cNvGrpSpPr/>
        <p:nvPr/>
      </p:nvGrpSpPr>
      <p:grpSpPr>
        <a:xfrm>
          <a:off x="0" y="0"/>
          <a:ext cx="0" cy="0"/>
          <a:chOff x="0" y="0"/>
          <a:chExt cx="0" cy="0"/>
        </a:xfrm>
      </p:grpSpPr>
      <p:grpSp>
        <p:nvGrpSpPr>
          <p:cNvPr id="113" name="Group 112">
            <a:extLst>
              <a:ext uri="{FF2B5EF4-FFF2-40B4-BE49-F238E27FC236}">
                <a16:creationId xmlns:a16="http://schemas.microsoft.com/office/drawing/2014/main" id="{55DE3C32-1BA4-48BC-BD9F-76AC01F4C00D}"/>
              </a:ext>
            </a:extLst>
          </p:cNvPr>
          <p:cNvGrpSpPr/>
          <p:nvPr userDrawn="1"/>
        </p:nvGrpSpPr>
        <p:grpSpPr>
          <a:xfrm>
            <a:off x="0" y="209380"/>
            <a:ext cx="12192000" cy="900000"/>
            <a:chOff x="0" y="209380"/>
            <a:chExt cx="12192000" cy="900000"/>
          </a:xfrm>
        </p:grpSpPr>
        <p:sp>
          <p:nvSpPr>
            <p:cNvPr id="116" name="Freeform: Shape 115">
              <a:extLst>
                <a:ext uri="{FF2B5EF4-FFF2-40B4-BE49-F238E27FC236}">
                  <a16:creationId xmlns:a16="http://schemas.microsoft.com/office/drawing/2014/main" id="{33AF8648-8BFE-4D43-87AF-29EBCD39989A}"/>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7" name="Graphic 22">
              <a:extLst>
                <a:ext uri="{FF2B5EF4-FFF2-40B4-BE49-F238E27FC236}">
                  <a16:creationId xmlns:a16="http://schemas.microsoft.com/office/drawing/2014/main" id="{9F6FBACA-3C30-4051-A399-C3E531C6A12B}"/>
                </a:ext>
              </a:extLst>
            </p:cNvPr>
            <p:cNvGrpSpPr/>
            <p:nvPr/>
          </p:nvGrpSpPr>
          <p:grpSpPr>
            <a:xfrm>
              <a:off x="10915649" y="368867"/>
              <a:ext cx="581025" cy="581025"/>
              <a:chOff x="11049699" y="311944"/>
              <a:chExt cx="446976" cy="446976"/>
            </a:xfrm>
          </p:grpSpPr>
          <p:sp>
            <p:nvSpPr>
              <p:cNvPr id="28" name="Freeform: Shape 27">
                <a:extLst>
                  <a:ext uri="{FF2B5EF4-FFF2-40B4-BE49-F238E27FC236}">
                    <a16:creationId xmlns:a16="http://schemas.microsoft.com/office/drawing/2014/main" id="{D7EEAD40-ECE4-487D-9C4F-6D2FE43D0B9F}"/>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6BFC6F9-799A-478B-9D7D-02624EEA0635}"/>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A85DEE6C-EE72-4564-878E-8CD86B0B31F4}"/>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EAAB44E1-988C-49AE-901E-8DF2FAB58616}"/>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94354EB6-A075-47F9-8023-27E4303DCF17}"/>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DD3842F1-7FF8-4AC7-8186-B8B24E1ED329}"/>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AC896309-B673-4E0C-AB91-43BDB13D26AD}"/>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E0262554-708A-43A3-B697-3D22ADAB725B}"/>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5154DE8D-DA8C-4174-A1E3-50B9CF5227DD}"/>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4632643A-F5D2-40A7-8626-9D1344226EE1}"/>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A75AE45C-20BA-4B6A-9B63-F4649591C2DE}"/>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0B0E6861-FC4E-4C59-8FD3-DFAD2193FE07}"/>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AEB6DFFB-F3D7-4BDD-AA69-F15DE4A58613}"/>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B38777A0-8773-47F3-97C8-49118A8155B7}"/>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0F7E8AFB-910F-409B-B8DA-99DEE9CD976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F8E2857E-6394-4E1F-916A-D863EA29C22E}"/>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69C3FE05-3679-4ACA-8F0C-3441DB037DD4}"/>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C7A7A25F-5571-4AA8-981D-DBBD1B5F393B}"/>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3520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4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2" name="Google Shape;334;p32">
            <a:extLst>
              <a:ext uri="{FF2B5EF4-FFF2-40B4-BE49-F238E27FC236}">
                <a16:creationId xmlns:a16="http://schemas.microsoft.com/office/drawing/2014/main" id="{2C873F0C-CDC0-4727-A62F-8A1D33422E4A}"/>
              </a:ext>
            </a:extLst>
          </p:cNvPr>
          <p:cNvSpPr txBox="1">
            <a:spLocks/>
          </p:cNvSpPr>
          <p:nvPr userDrawn="1"/>
        </p:nvSpPr>
        <p:spPr>
          <a:xfrm>
            <a:off x="-159794" y="1809792"/>
            <a:ext cx="2034958" cy="1691423"/>
          </a:xfrm>
          <a:prstGeom prst="rect">
            <a:avLst/>
          </a:prstGeom>
        </p:spPr>
        <p:txBody>
          <a:bodyPr spcFirstLastPara="1" wrap="square" lIns="68575" tIns="34275" rIns="68575" bIns="34275" anchor="ctr" anchorCtr="0">
            <a:noAutofit/>
          </a:bodyPr>
          <a:lstStyle>
            <a:lvl1pPr algn="l" defTabSz="685800" rtl="0" eaLnBrk="1" latinLnBrk="0" hangingPunct="1">
              <a:lnSpc>
                <a:spcPct val="100000"/>
              </a:lnSpc>
              <a:spcBef>
                <a:spcPct val="0"/>
              </a:spcBef>
              <a:buNone/>
              <a:defRPr sz="2000" b="1" i="1" kern="1200">
                <a:solidFill>
                  <a:schemeClr val="tx1"/>
                </a:solidFill>
                <a:latin typeface="+mn-lt"/>
                <a:ea typeface="+mj-ea"/>
                <a:cs typeface="+mj-cs"/>
              </a:defRPr>
            </a:lvl1pPr>
          </a:lstStyle>
          <a:p>
            <a:pPr algn="r">
              <a:spcBef>
                <a:spcPts val="0"/>
              </a:spcBef>
            </a:pPr>
            <a:endParaRPr lang="es-ES" sz="18000" b="0" i="0" dirty="0">
              <a:solidFill>
                <a:srgbClr val="FFC000"/>
              </a:solidFill>
              <a:latin typeface="e-Ukraine UltraLight" panose="00000900000000000000" pitchFamily="2" charset="0"/>
            </a:endParaRPr>
          </a:p>
        </p:txBody>
      </p:sp>
      <p:sp>
        <p:nvSpPr>
          <p:cNvPr id="115" name="Title 11">
            <a:extLst>
              <a:ext uri="{FF2B5EF4-FFF2-40B4-BE49-F238E27FC236}">
                <a16:creationId xmlns:a16="http://schemas.microsoft.com/office/drawing/2014/main" id="{5A0895A0-0B2C-4FD7-9180-611706A4E4ED}"/>
              </a:ext>
            </a:extLst>
          </p:cNvPr>
          <p:cNvSpPr>
            <a:spLocks noGrp="1"/>
          </p:cNvSpPr>
          <p:nvPr userDrawn="1">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Зміст</a:t>
            </a:r>
            <a:endParaRPr lang="en-US" dirty="0"/>
          </a:p>
        </p:txBody>
      </p:sp>
      <p:sp>
        <p:nvSpPr>
          <p:cNvPr id="4" name="Text Placeholder 3">
            <a:extLst>
              <a:ext uri="{FF2B5EF4-FFF2-40B4-BE49-F238E27FC236}">
                <a16:creationId xmlns:a16="http://schemas.microsoft.com/office/drawing/2014/main" id="{17428BB1-650C-44FA-A105-F89BE0A95E6D}"/>
              </a:ext>
            </a:extLst>
          </p:cNvPr>
          <p:cNvSpPr>
            <a:spLocks noGrp="1"/>
          </p:cNvSpPr>
          <p:nvPr userDrawn="1">
            <p:ph type="body" sz="quarter" idx="10" hasCustomPrompt="1"/>
          </p:nvPr>
        </p:nvSpPr>
        <p:spPr>
          <a:xfrm>
            <a:off x="695325" y="1581927"/>
            <a:ext cx="1593850" cy="1919288"/>
          </a:xfrm>
        </p:spPr>
        <p:txBody>
          <a:bodyPr anchor="ctr"/>
          <a:lstStyle>
            <a:lvl1pPr>
              <a:defRPr sz="18000">
                <a:solidFill>
                  <a:schemeClr val="accent1"/>
                </a:solidFill>
                <a:latin typeface="e-Ukraine Bold" panose="00000800000000000000" pitchFamily="50" charset="0"/>
              </a:defRPr>
            </a:lvl1pPr>
          </a:lstStyle>
          <a:p>
            <a:pPr lvl="0"/>
            <a:r>
              <a:rPr lang="en-US" dirty="0"/>
              <a:t>1</a:t>
            </a:r>
          </a:p>
        </p:txBody>
      </p:sp>
      <p:sp>
        <p:nvSpPr>
          <p:cNvPr id="6" name="Text Placeholder 5">
            <a:extLst>
              <a:ext uri="{FF2B5EF4-FFF2-40B4-BE49-F238E27FC236}">
                <a16:creationId xmlns:a16="http://schemas.microsoft.com/office/drawing/2014/main" id="{4D22184F-9815-4D47-9913-BA42331836D7}"/>
              </a:ext>
            </a:extLst>
          </p:cNvPr>
          <p:cNvSpPr>
            <a:spLocks noGrp="1"/>
          </p:cNvSpPr>
          <p:nvPr userDrawn="1">
            <p:ph type="body" sz="quarter" idx="11" hasCustomPrompt="1"/>
          </p:nvPr>
        </p:nvSpPr>
        <p:spPr>
          <a:xfrm>
            <a:off x="1265012" y="2065973"/>
            <a:ext cx="1879282" cy="1045527"/>
          </a:xfrm>
        </p:spPr>
        <p:txBody>
          <a:bodyPr/>
          <a:lstStyle>
            <a:lvl1pP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Назва секції</a:t>
            </a:r>
            <a:r>
              <a:rPr lang="en-US" dirty="0"/>
              <a:t/>
            </a:r>
            <a:br>
              <a:rPr lang="en-US" dirty="0"/>
            </a:br>
            <a:r>
              <a:rPr lang="en-US" dirty="0"/>
              <a:t>E-Ukraine</a:t>
            </a:r>
            <a:br>
              <a:rPr lang="en-US" dirty="0"/>
            </a:br>
            <a:r>
              <a:rPr lang="en-US" dirty="0" err="1"/>
              <a:t>UltraLight</a:t>
            </a:r>
            <a:r>
              <a:rPr lang="en-US" dirty="0"/>
              <a:t> 20</a:t>
            </a:r>
          </a:p>
        </p:txBody>
      </p:sp>
      <p:sp>
        <p:nvSpPr>
          <p:cNvPr id="11" name="Text Placeholder 3">
            <a:extLst>
              <a:ext uri="{FF2B5EF4-FFF2-40B4-BE49-F238E27FC236}">
                <a16:creationId xmlns:a16="http://schemas.microsoft.com/office/drawing/2014/main" id="{EE5A5635-F4CF-4904-B4D1-7442D457207D}"/>
              </a:ext>
            </a:extLst>
          </p:cNvPr>
          <p:cNvSpPr>
            <a:spLocks noGrp="1"/>
          </p:cNvSpPr>
          <p:nvPr userDrawn="1">
            <p:ph type="body" sz="quarter" idx="12" hasCustomPrompt="1"/>
          </p:nvPr>
        </p:nvSpPr>
        <p:spPr>
          <a:xfrm>
            <a:off x="4323081" y="1581927"/>
            <a:ext cx="1593850" cy="1919288"/>
          </a:xfrm>
        </p:spPr>
        <p:txBody>
          <a:bodyPr anchor="ctr"/>
          <a:lstStyle>
            <a:lvl1pPr>
              <a:defRPr sz="18000">
                <a:solidFill>
                  <a:schemeClr val="accent1"/>
                </a:solidFill>
                <a:latin typeface="e-Ukraine Bold" panose="00000800000000000000" pitchFamily="50" charset="0"/>
              </a:defRPr>
            </a:lvl1pPr>
          </a:lstStyle>
          <a:p>
            <a:pPr lvl="0"/>
            <a:r>
              <a:rPr lang="en-US" dirty="0"/>
              <a:t>2</a:t>
            </a:r>
          </a:p>
        </p:txBody>
      </p:sp>
      <p:sp>
        <p:nvSpPr>
          <p:cNvPr id="12" name="Text Placeholder 5">
            <a:extLst>
              <a:ext uri="{FF2B5EF4-FFF2-40B4-BE49-F238E27FC236}">
                <a16:creationId xmlns:a16="http://schemas.microsoft.com/office/drawing/2014/main" id="{88ED889B-0EDC-4638-AF95-31DF17CCCD60}"/>
              </a:ext>
            </a:extLst>
          </p:cNvPr>
          <p:cNvSpPr>
            <a:spLocks noGrp="1"/>
          </p:cNvSpPr>
          <p:nvPr userDrawn="1">
            <p:ph type="body" sz="quarter" idx="13" hasCustomPrompt="1"/>
          </p:nvPr>
        </p:nvSpPr>
        <p:spPr>
          <a:xfrm>
            <a:off x="5335430" y="2065973"/>
            <a:ext cx="1879282" cy="1045527"/>
          </a:xfrm>
        </p:spPr>
        <p:txBody>
          <a:bodyPr/>
          <a:lstStyle>
            <a:lvl1pP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Назва секції</a:t>
            </a:r>
            <a:r>
              <a:rPr lang="en-US" dirty="0"/>
              <a:t/>
            </a:r>
            <a:br>
              <a:rPr lang="en-US" dirty="0"/>
            </a:br>
            <a:r>
              <a:rPr lang="en-US" dirty="0"/>
              <a:t>E-Ukraine</a:t>
            </a:r>
            <a:br>
              <a:rPr lang="en-US" dirty="0"/>
            </a:br>
            <a:r>
              <a:rPr lang="en-US" dirty="0" err="1"/>
              <a:t>UltraLight</a:t>
            </a:r>
            <a:r>
              <a:rPr lang="en-US" dirty="0"/>
              <a:t> 20</a:t>
            </a:r>
          </a:p>
        </p:txBody>
      </p:sp>
      <p:sp>
        <p:nvSpPr>
          <p:cNvPr id="13" name="Text Placeholder 3">
            <a:extLst>
              <a:ext uri="{FF2B5EF4-FFF2-40B4-BE49-F238E27FC236}">
                <a16:creationId xmlns:a16="http://schemas.microsoft.com/office/drawing/2014/main" id="{EBC20E4C-9ED5-4FC9-B25B-4BC7F1DD08B4}"/>
              </a:ext>
            </a:extLst>
          </p:cNvPr>
          <p:cNvSpPr>
            <a:spLocks noGrp="1"/>
          </p:cNvSpPr>
          <p:nvPr userDrawn="1">
            <p:ph type="body" sz="quarter" idx="14" hasCustomPrompt="1"/>
          </p:nvPr>
        </p:nvSpPr>
        <p:spPr>
          <a:xfrm>
            <a:off x="8345805" y="1581927"/>
            <a:ext cx="1593850" cy="1919288"/>
          </a:xfrm>
        </p:spPr>
        <p:txBody>
          <a:bodyPr anchor="ctr"/>
          <a:lstStyle>
            <a:lvl1pPr>
              <a:defRPr sz="18000">
                <a:solidFill>
                  <a:schemeClr val="accent1"/>
                </a:solidFill>
                <a:latin typeface="e-Ukraine Bold" panose="00000800000000000000" pitchFamily="50" charset="0"/>
              </a:defRPr>
            </a:lvl1pPr>
          </a:lstStyle>
          <a:p>
            <a:pPr lvl="0"/>
            <a:r>
              <a:rPr lang="en-US" dirty="0"/>
              <a:t>3</a:t>
            </a:r>
          </a:p>
        </p:txBody>
      </p:sp>
      <p:sp>
        <p:nvSpPr>
          <p:cNvPr id="14" name="Text Placeholder 5">
            <a:extLst>
              <a:ext uri="{FF2B5EF4-FFF2-40B4-BE49-F238E27FC236}">
                <a16:creationId xmlns:a16="http://schemas.microsoft.com/office/drawing/2014/main" id="{51D9B7FA-1D4E-4004-AE45-2080132A5581}"/>
              </a:ext>
            </a:extLst>
          </p:cNvPr>
          <p:cNvSpPr>
            <a:spLocks noGrp="1"/>
          </p:cNvSpPr>
          <p:nvPr userDrawn="1">
            <p:ph type="body" sz="quarter" idx="15" hasCustomPrompt="1"/>
          </p:nvPr>
        </p:nvSpPr>
        <p:spPr>
          <a:xfrm>
            <a:off x="9271953" y="2065973"/>
            <a:ext cx="1879282" cy="1045527"/>
          </a:xfrm>
        </p:spPr>
        <p:txBody>
          <a:bodyPr/>
          <a:lstStyle>
            <a:lvl1pP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Назва секції</a:t>
            </a:r>
            <a:r>
              <a:rPr lang="en-US" dirty="0"/>
              <a:t/>
            </a:r>
            <a:br>
              <a:rPr lang="en-US" dirty="0"/>
            </a:br>
            <a:r>
              <a:rPr lang="en-US" dirty="0"/>
              <a:t>E-Ukraine</a:t>
            </a:r>
            <a:br>
              <a:rPr lang="en-US" dirty="0"/>
            </a:br>
            <a:r>
              <a:rPr lang="en-US" dirty="0" err="1"/>
              <a:t>UltraLight</a:t>
            </a:r>
            <a:r>
              <a:rPr lang="en-US" dirty="0"/>
              <a:t> 20</a:t>
            </a:r>
          </a:p>
        </p:txBody>
      </p:sp>
      <p:sp>
        <p:nvSpPr>
          <p:cNvPr id="17" name="Text Placeholder 3">
            <a:extLst>
              <a:ext uri="{FF2B5EF4-FFF2-40B4-BE49-F238E27FC236}">
                <a16:creationId xmlns:a16="http://schemas.microsoft.com/office/drawing/2014/main" id="{7518B8D9-661E-45D7-9F25-B7E48D1F0242}"/>
              </a:ext>
            </a:extLst>
          </p:cNvPr>
          <p:cNvSpPr>
            <a:spLocks noGrp="1"/>
          </p:cNvSpPr>
          <p:nvPr userDrawn="1">
            <p:ph type="body" sz="quarter" idx="16" hasCustomPrompt="1"/>
          </p:nvPr>
        </p:nvSpPr>
        <p:spPr>
          <a:xfrm>
            <a:off x="695325" y="4303199"/>
            <a:ext cx="1593850" cy="1919288"/>
          </a:xfrm>
        </p:spPr>
        <p:txBody>
          <a:bodyPr anchor="ctr"/>
          <a:lstStyle>
            <a:lvl1pPr>
              <a:defRPr sz="18000">
                <a:solidFill>
                  <a:schemeClr val="accent1"/>
                </a:solidFill>
                <a:latin typeface="e-Ukraine Bold" panose="00000800000000000000" pitchFamily="50" charset="0"/>
              </a:defRPr>
            </a:lvl1pPr>
          </a:lstStyle>
          <a:p>
            <a:pPr lvl="0"/>
            <a:r>
              <a:rPr lang="en-US" dirty="0"/>
              <a:t>4</a:t>
            </a:r>
          </a:p>
        </p:txBody>
      </p:sp>
      <p:sp>
        <p:nvSpPr>
          <p:cNvPr id="18" name="Text Placeholder 5">
            <a:extLst>
              <a:ext uri="{FF2B5EF4-FFF2-40B4-BE49-F238E27FC236}">
                <a16:creationId xmlns:a16="http://schemas.microsoft.com/office/drawing/2014/main" id="{21A7C6DE-FA9E-49B5-BE7E-607FFBE6A9F5}"/>
              </a:ext>
            </a:extLst>
          </p:cNvPr>
          <p:cNvSpPr>
            <a:spLocks noGrp="1"/>
          </p:cNvSpPr>
          <p:nvPr userDrawn="1">
            <p:ph type="body" sz="quarter" idx="17" hasCustomPrompt="1"/>
          </p:nvPr>
        </p:nvSpPr>
        <p:spPr>
          <a:xfrm>
            <a:off x="1859201" y="4787245"/>
            <a:ext cx="1879282" cy="1045527"/>
          </a:xfrm>
        </p:spPr>
        <p:txBody>
          <a:bodyPr/>
          <a:lstStyle>
            <a:lvl1pP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Назва секції</a:t>
            </a:r>
            <a:r>
              <a:rPr lang="en-US" dirty="0"/>
              <a:t/>
            </a:r>
            <a:br>
              <a:rPr lang="en-US" dirty="0"/>
            </a:br>
            <a:r>
              <a:rPr lang="en-US" dirty="0"/>
              <a:t>E-Ukraine</a:t>
            </a:r>
            <a:br>
              <a:rPr lang="en-US" dirty="0"/>
            </a:br>
            <a:r>
              <a:rPr lang="en-US" dirty="0" err="1"/>
              <a:t>UltraLight</a:t>
            </a:r>
            <a:r>
              <a:rPr lang="en-US" dirty="0"/>
              <a:t> 20</a:t>
            </a:r>
          </a:p>
        </p:txBody>
      </p:sp>
      <p:sp>
        <p:nvSpPr>
          <p:cNvPr id="19" name="Text Placeholder 3">
            <a:extLst>
              <a:ext uri="{FF2B5EF4-FFF2-40B4-BE49-F238E27FC236}">
                <a16:creationId xmlns:a16="http://schemas.microsoft.com/office/drawing/2014/main" id="{61669517-653B-42AB-A5C6-1D4449CE1C02}"/>
              </a:ext>
            </a:extLst>
          </p:cNvPr>
          <p:cNvSpPr>
            <a:spLocks noGrp="1"/>
          </p:cNvSpPr>
          <p:nvPr userDrawn="1">
            <p:ph type="body" sz="quarter" idx="18" hasCustomPrompt="1"/>
          </p:nvPr>
        </p:nvSpPr>
        <p:spPr>
          <a:xfrm>
            <a:off x="4323081" y="4303199"/>
            <a:ext cx="1593850" cy="1919288"/>
          </a:xfrm>
        </p:spPr>
        <p:txBody>
          <a:bodyPr anchor="ctr"/>
          <a:lstStyle>
            <a:lvl1pPr>
              <a:defRPr sz="18000">
                <a:solidFill>
                  <a:schemeClr val="accent1"/>
                </a:solidFill>
                <a:latin typeface="e-Ukraine Bold" panose="00000800000000000000" pitchFamily="50" charset="0"/>
              </a:defRPr>
            </a:lvl1pPr>
          </a:lstStyle>
          <a:p>
            <a:pPr lvl="0"/>
            <a:r>
              <a:rPr lang="en-US" dirty="0"/>
              <a:t>5</a:t>
            </a:r>
          </a:p>
        </p:txBody>
      </p:sp>
      <p:sp>
        <p:nvSpPr>
          <p:cNvPr id="20" name="Text Placeholder 5">
            <a:extLst>
              <a:ext uri="{FF2B5EF4-FFF2-40B4-BE49-F238E27FC236}">
                <a16:creationId xmlns:a16="http://schemas.microsoft.com/office/drawing/2014/main" id="{74ACBB50-1387-4979-8B51-04BE6EBA270D}"/>
              </a:ext>
            </a:extLst>
          </p:cNvPr>
          <p:cNvSpPr>
            <a:spLocks noGrp="1"/>
          </p:cNvSpPr>
          <p:nvPr userDrawn="1">
            <p:ph type="body" sz="quarter" idx="19" hasCustomPrompt="1"/>
          </p:nvPr>
        </p:nvSpPr>
        <p:spPr>
          <a:xfrm>
            <a:off x="5447190" y="4787245"/>
            <a:ext cx="1879282" cy="1045527"/>
          </a:xfrm>
        </p:spPr>
        <p:txBody>
          <a:bodyPr/>
          <a:lstStyle>
            <a:lvl1pP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Назва секції</a:t>
            </a:r>
            <a:r>
              <a:rPr lang="en-US" dirty="0"/>
              <a:t/>
            </a:r>
            <a:br>
              <a:rPr lang="en-US" dirty="0"/>
            </a:br>
            <a:r>
              <a:rPr lang="en-US" dirty="0"/>
              <a:t>E-Ukraine</a:t>
            </a:r>
            <a:br>
              <a:rPr lang="en-US" dirty="0"/>
            </a:br>
            <a:r>
              <a:rPr lang="en-US" dirty="0" err="1"/>
              <a:t>UltraLight</a:t>
            </a:r>
            <a:r>
              <a:rPr lang="en-US" dirty="0"/>
              <a:t> 20</a:t>
            </a:r>
          </a:p>
        </p:txBody>
      </p:sp>
      <p:sp>
        <p:nvSpPr>
          <p:cNvPr id="21" name="Text Placeholder 3">
            <a:extLst>
              <a:ext uri="{FF2B5EF4-FFF2-40B4-BE49-F238E27FC236}">
                <a16:creationId xmlns:a16="http://schemas.microsoft.com/office/drawing/2014/main" id="{03D93207-9FFD-4060-80E1-C74BD3662D47}"/>
              </a:ext>
            </a:extLst>
          </p:cNvPr>
          <p:cNvSpPr>
            <a:spLocks noGrp="1"/>
          </p:cNvSpPr>
          <p:nvPr userDrawn="1">
            <p:ph type="body" sz="quarter" idx="20" hasCustomPrompt="1"/>
          </p:nvPr>
        </p:nvSpPr>
        <p:spPr>
          <a:xfrm>
            <a:off x="8345805" y="4303199"/>
            <a:ext cx="1593850" cy="1919288"/>
          </a:xfrm>
        </p:spPr>
        <p:txBody>
          <a:bodyPr anchor="ctr"/>
          <a:lstStyle>
            <a:lvl1pPr>
              <a:defRPr sz="18000">
                <a:solidFill>
                  <a:schemeClr val="accent1"/>
                </a:solidFill>
                <a:latin typeface="e-Ukraine Bold" panose="00000800000000000000" pitchFamily="50" charset="0"/>
              </a:defRPr>
            </a:lvl1pPr>
          </a:lstStyle>
          <a:p>
            <a:pPr lvl="0"/>
            <a:r>
              <a:rPr lang="en-US" dirty="0"/>
              <a:t>6</a:t>
            </a:r>
          </a:p>
        </p:txBody>
      </p:sp>
      <p:sp>
        <p:nvSpPr>
          <p:cNvPr id="22" name="Text Placeholder 5">
            <a:extLst>
              <a:ext uri="{FF2B5EF4-FFF2-40B4-BE49-F238E27FC236}">
                <a16:creationId xmlns:a16="http://schemas.microsoft.com/office/drawing/2014/main" id="{5982DCFA-4AE5-42B1-AF2B-EB31E779F1AD}"/>
              </a:ext>
            </a:extLst>
          </p:cNvPr>
          <p:cNvSpPr>
            <a:spLocks noGrp="1"/>
          </p:cNvSpPr>
          <p:nvPr userDrawn="1">
            <p:ph type="body" sz="quarter" idx="21" hasCustomPrompt="1"/>
          </p:nvPr>
        </p:nvSpPr>
        <p:spPr>
          <a:xfrm>
            <a:off x="9454833" y="4787245"/>
            <a:ext cx="1879282" cy="1045527"/>
          </a:xfrm>
        </p:spPr>
        <p:txBody>
          <a:bodyPr/>
          <a:lstStyle>
            <a:lvl1pP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Назва секції</a:t>
            </a:r>
            <a:r>
              <a:rPr lang="en-US" dirty="0"/>
              <a:t/>
            </a:r>
            <a:br>
              <a:rPr lang="en-US" dirty="0"/>
            </a:br>
            <a:r>
              <a:rPr lang="en-US" dirty="0"/>
              <a:t>E-Ukraine</a:t>
            </a:r>
            <a:br>
              <a:rPr lang="en-US" dirty="0"/>
            </a:br>
            <a:r>
              <a:rPr lang="en-US" dirty="0" err="1"/>
              <a:t>UltraLight</a:t>
            </a:r>
            <a:r>
              <a:rPr lang="en-US" dirty="0"/>
              <a:t> 20</a:t>
            </a:r>
          </a:p>
        </p:txBody>
      </p:sp>
    </p:spTree>
    <p:extLst>
      <p:ext uri="{BB962C8B-B14F-4D97-AF65-F5344CB8AC3E}">
        <p14:creationId xmlns:p14="http://schemas.microsoft.com/office/powerpoint/2010/main" val="80178095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Rating">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4541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Text Placeholder 6">
            <a:extLst>
              <a:ext uri="{FF2B5EF4-FFF2-40B4-BE49-F238E27FC236}">
                <a16:creationId xmlns:a16="http://schemas.microsoft.com/office/drawing/2014/main" id="{7A7CB056-5063-40F3-9148-53105EBF4308}"/>
              </a:ext>
            </a:extLst>
          </p:cNvPr>
          <p:cNvSpPr>
            <a:spLocks noGrp="1"/>
          </p:cNvSpPr>
          <p:nvPr>
            <p:ph type="body" sz="quarter" idx="11" hasCustomPrompt="1"/>
          </p:nvPr>
        </p:nvSpPr>
        <p:spPr>
          <a:xfrm>
            <a:off x="5102968" y="1305917"/>
            <a:ext cx="6094222" cy="528637"/>
          </a:xfrm>
        </p:spPr>
        <p:txBody>
          <a:bodyPr/>
          <a:lstStyle>
            <a:lvl1pPr>
              <a:spcAft>
                <a:spcPts val="0"/>
              </a:spcAft>
              <a:defRPr sz="18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18 pt.</a:t>
            </a:r>
          </a:p>
          <a:p>
            <a:pPr lvl="0"/>
            <a:r>
              <a:rPr lang="uk-UA" dirty="0"/>
              <a:t>Максимум 2 рядки</a:t>
            </a:r>
            <a:endParaRPr lang="en-US" dirty="0"/>
          </a:p>
        </p:txBody>
      </p:sp>
      <p:sp>
        <p:nvSpPr>
          <p:cNvPr id="29" name="Text Placeholder 10">
            <a:extLst>
              <a:ext uri="{FF2B5EF4-FFF2-40B4-BE49-F238E27FC236}">
                <a16:creationId xmlns:a16="http://schemas.microsoft.com/office/drawing/2014/main" id="{5CDE6B86-9C34-4821-858E-EBDDC1FC7764}"/>
              </a:ext>
            </a:extLst>
          </p:cNvPr>
          <p:cNvSpPr>
            <a:spLocks noGrp="1"/>
          </p:cNvSpPr>
          <p:nvPr>
            <p:ph type="body" sz="quarter" idx="12" hasCustomPrompt="1"/>
          </p:nvPr>
        </p:nvSpPr>
        <p:spPr>
          <a:xfrm>
            <a:off x="5102967" y="1981103"/>
            <a:ext cx="6094223" cy="812815"/>
          </a:xfrm>
        </p:spPr>
        <p:txBody>
          <a:bodyPr/>
          <a:lstStyle>
            <a:lvl1pPr>
              <a:spcAft>
                <a:spcPts val="0"/>
              </a:spcAft>
              <a:defRPr sz="18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18 pt.</a:t>
            </a:r>
          </a:p>
          <a:p>
            <a:pPr lvl="0"/>
            <a:r>
              <a:rPr lang="uk-UA" dirty="0"/>
              <a:t>Максимум 3 рядки</a:t>
            </a:r>
            <a:endParaRPr lang="en-US" dirty="0"/>
          </a:p>
        </p:txBody>
      </p:sp>
      <p:grpSp>
        <p:nvGrpSpPr>
          <p:cNvPr id="13" name="Group 12">
            <a:extLst>
              <a:ext uri="{FF2B5EF4-FFF2-40B4-BE49-F238E27FC236}">
                <a16:creationId xmlns:a16="http://schemas.microsoft.com/office/drawing/2014/main" id="{0885D31D-5880-4276-8452-C0633BC252D8}"/>
              </a:ext>
            </a:extLst>
          </p:cNvPr>
          <p:cNvGrpSpPr/>
          <p:nvPr userDrawn="1"/>
        </p:nvGrpSpPr>
        <p:grpSpPr>
          <a:xfrm>
            <a:off x="0" y="209380"/>
            <a:ext cx="12192000" cy="900000"/>
            <a:chOff x="0" y="209380"/>
            <a:chExt cx="12192000" cy="900000"/>
          </a:xfrm>
        </p:grpSpPr>
        <p:sp>
          <p:nvSpPr>
            <p:cNvPr id="14" name="Freeform: Shape 13">
              <a:extLst>
                <a:ext uri="{FF2B5EF4-FFF2-40B4-BE49-F238E27FC236}">
                  <a16:creationId xmlns:a16="http://schemas.microsoft.com/office/drawing/2014/main" id="{D661793F-EEE3-4130-A947-F8686AF3E68A}"/>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15" name="Graphic 22">
              <a:extLst>
                <a:ext uri="{FF2B5EF4-FFF2-40B4-BE49-F238E27FC236}">
                  <a16:creationId xmlns:a16="http://schemas.microsoft.com/office/drawing/2014/main" id="{62F2B0D1-1661-44FE-9CB2-8F62AF250FB0}"/>
                </a:ext>
              </a:extLst>
            </p:cNvPr>
            <p:cNvGrpSpPr/>
            <p:nvPr/>
          </p:nvGrpSpPr>
          <p:grpSpPr>
            <a:xfrm>
              <a:off x="10915649" y="368867"/>
              <a:ext cx="581025" cy="581025"/>
              <a:chOff x="11049699" y="311944"/>
              <a:chExt cx="446976" cy="446976"/>
            </a:xfrm>
          </p:grpSpPr>
          <p:sp>
            <p:nvSpPr>
              <p:cNvPr id="16" name="Freeform: Shape 15">
                <a:extLst>
                  <a:ext uri="{FF2B5EF4-FFF2-40B4-BE49-F238E27FC236}">
                    <a16:creationId xmlns:a16="http://schemas.microsoft.com/office/drawing/2014/main" id="{6DC11EB7-33D5-4A0F-BA0D-357A9A3DB0A8}"/>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E06E991B-370E-4562-A80A-F299740FE209}"/>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8" name="Freeform: Shape 17">
                <a:extLst>
                  <a:ext uri="{FF2B5EF4-FFF2-40B4-BE49-F238E27FC236}">
                    <a16:creationId xmlns:a16="http://schemas.microsoft.com/office/drawing/2014/main" id="{F3458C45-45DB-4DC8-B03F-ACF286726C23}"/>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9" name="Freeform: Shape 18">
                <a:extLst>
                  <a:ext uri="{FF2B5EF4-FFF2-40B4-BE49-F238E27FC236}">
                    <a16:creationId xmlns:a16="http://schemas.microsoft.com/office/drawing/2014/main" id="{717346DD-CEA1-4554-93BF-6294DFF1D43A}"/>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0" name="Freeform: Shape 19">
                <a:extLst>
                  <a:ext uri="{FF2B5EF4-FFF2-40B4-BE49-F238E27FC236}">
                    <a16:creationId xmlns:a16="http://schemas.microsoft.com/office/drawing/2014/main" id="{92293E71-77D8-4317-83F0-DB64E2518EE2}"/>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5E9DDAFB-9621-4932-B463-E9BA5476CF66}"/>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A1EC624A-D585-4270-8258-4121B1CCA0A6}"/>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5A90D981-3731-4EEE-97C9-25EC4905AC69}"/>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B7AFB747-0BC8-413A-B2EA-42A9B586FF12}"/>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72898332-B607-4455-891F-A404EDDD81E9}"/>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2F0F59CE-067C-4BAA-A3DE-B114250FBA51}"/>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37BEAE69-020C-4E98-AFE0-27FE22812D8C}"/>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8BCEC960-34E4-49BB-84C3-9EFFE77D55A7}"/>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04A03BA3-31FF-4B6C-8AE0-AC2E0E53CDF0}"/>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3E60BFA0-9D2A-430E-BFFB-940EBDE51088}"/>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459F3BE2-0BEC-4AF0-AC78-4FF7DA6F9DA1}"/>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5CC28198-F785-4D66-AF6F-FA0546EC4C80}"/>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231E1CA-5CD5-4B38-9558-584BE3ED42DB}"/>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36" name="Title 11">
            <a:extLst>
              <a:ext uri="{FF2B5EF4-FFF2-40B4-BE49-F238E27FC236}">
                <a16:creationId xmlns:a16="http://schemas.microsoft.com/office/drawing/2014/main" id="{BD179971-DE78-4B99-AB25-D13FDAA21FFD}"/>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Рейтинг</a:t>
            </a:r>
            <a:endParaRPr lang="en-US" dirty="0"/>
          </a:p>
        </p:txBody>
      </p:sp>
      <p:sp>
        <p:nvSpPr>
          <p:cNvPr id="37" name="Text Placeholder 6">
            <a:extLst>
              <a:ext uri="{FF2B5EF4-FFF2-40B4-BE49-F238E27FC236}">
                <a16:creationId xmlns:a16="http://schemas.microsoft.com/office/drawing/2014/main" id="{3589FB23-558B-45B9-A5B4-971B2E8C4CBF}"/>
              </a:ext>
            </a:extLst>
          </p:cNvPr>
          <p:cNvSpPr>
            <a:spLocks noGrp="1"/>
          </p:cNvSpPr>
          <p:nvPr>
            <p:ph type="body" sz="quarter" idx="13" hasCustomPrompt="1"/>
          </p:nvPr>
        </p:nvSpPr>
        <p:spPr>
          <a:xfrm>
            <a:off x="5102968" y="3164681"/>
            <a:ext cx="6094222" cy="528637"/>
          </a:xfrm>
        </p:spPr>
        <p:txBody>
          <a:bodyPr/>
          <a:lstStyle>
            <a:lvl1pPr>
              <a:spcAft>
                <a:spcPts val="0"/>
              </a:spcAft>
              <a:defRPr sz="18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18 pt.</a:t>
            </a:r>
          </a:p>
          <a:p>
            <a:pPr lvl="0"/>
            <a:r>
              <a:rPr lang="uk-UA" dirty="0"/>
              <a:t>Максимум 2 рядки</a:t>
            </a:r>
            <a:endParaRPr lang="en-US" dirty="0"/>
          </a:p>
        </p:txBody>
      </p:sp>
      <p:sp>
        <p:nvSpPr>
          <p:cNvPr id="38" name="Text Placeholder 10">
            <a:extLst>
              <a:ext uri="{FF2B5EF4-FFF2-40B4-BE49-F238E27FC236}">
                <a16:creationId xmlns:a16="http://schemas.microsoft.com/office/drawing/2014/main" id="{4482F084-90A9-4A49-8505-4AC40F7ADFCD}"/>
              </a:ext>
            </a:extLst>
          </p:cNvPr>
          <p:cNvSpPr>
            <a:spLocks noGrp="1"/>
          </p:cNvSpPr>
          <p:nvPr>
            <p:ph type="body" sz="quarter" idx="14" hasCustomPrompt="1"/>
          </p:nvPr>
        </p:nvSpPr>
        <p:spPr>
          <a:xfrm>
            <a:off x="5102967" y="3839867"/>
            <a:ext cx="6094223" cy="812815"/>
          </a:xfrm>
        </p:spPr>
        <p:txBody>
          <a:bodyPr/>
          <a:lstStyle>
            <a:lvl1pPr>
              <a:spcAft>
                <a:spcPts val="0"/>
              </a:spcAft>
              <a:defRPr sz="18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18 pt.</a:t>
            </a:r>
          </a:p>
          <a:p>
            <a:pPr lvl="0"/>
            <a:r>
              <a:rPr lang="uk-UA" dirty="0"/>
              <a:t>Максимум 3 рядки</a:t>
            </a:r>
            <a:endParaRPr lang="en-US" dirty="0"/>
          </a:p>
        </p:txBody>
      </p:sp>
      <p:sp>
        <p:nvSpPr>
          <p:cNvPr id="39" name="Text Placeholder 6">
            <a:extLst>
              <a:ext uri="{FF2B5EF4-FFF2-40B4-BE49-F238E27FC236}">
                <a16:creationId xmlns:a16="http://schemas.microsoft.com/office/drawing/2014/main" id="{B2E4BAB9-D17A-40D3-9AD2-5A277CA7A72F}"/>
              </a:ext>
            </a:extLst>
          </p:cNvPr>
          <p:cNvSpPr>
            <a:spLocks noGrp="1"/>
          </p:cNvSpPr>
          <p:nvPr>
            <p:ph type="body" sz="quarter" idx="15" hasCustomPrompt="1"/>
          </p:nvPr>
        </p:nvSpPr>
        <p:spPr>
          <a:xfrm>
            <a:off x="5102968" y="5023446"/>
            <a:ext cx="6094222" cy="528637"/>
          </a:xfrm>
        </p:spPr>
        <p:txBody>
          <a:bodyPr/>
          <a:lstStyle>
            <a:lvl1pPr>
              <a:spcAft>
                <a:spcPts val="0"/>
              </a:spcAft>
              <a:defRPr sz="18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 Bold 18 pt.</a:t>
            </a:r>
          </a:p>
          <a:p>
            <a:pPr lvl="0"/>
            <a:r>
              <a:rPr lang="uk-UA" dirty="0"/>
              <a:t>Максимум 2 рядки</a:t>
            </a:r>
            <a:endParaRPr lang="en-US" dirty="0"/>
          </a:p>
        </p:txBody>
      </p:sp>
      <p:sp>
        <p:nvSpPr>
          <p:cNvPr id="40" name="Text Placeholder 10">
            <a:extLst>
              <a:ext uri="{FF2B5EF4-FFF2-40B4-BE49-F238E27FC236}">
                <a16:creationId xmlns:a16="http://schemas.microsoft.com/office/drawing/2014/main" id="{501D346C-C4B7-4AED-9316-FC6ADAC51496}"/>
              </a:ext>
            </a:extLst>
          </p:cNvPr>
          <p:cNvSpPr>
            <a:spLocks noGrp="1"/>
          </p:cNvSpPr>
          <p:nvPr>
            <p:ph type="body" sz="quarter" idx="16" hasCustomPrompt="1"/>
          </p:nvPr>
        </p:nvSpPr>
        <p:spPr>
          <a:xfrm>
            <a:off x="5102967" y="5698632"/>
            <a:ext cx="6094223" cy="812815"/>
          </a:xfrm>
        </p:spPr>
        <p:txBody>
          <a:bodyPr/>
          <a:lstStyle>
            <a:lvl1pPr>
              <a:spcAft>
                <a:spcPts val="0"/>
              </a:spcAft>
              <a:defRPr sz="18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 </a:t>
            </a:r>
            <a:r>
              <a:rPr lang="en-US" dirty="0"/>
              <a:t>e-Ukraine </a:t>
            </a:r>
            <a:r>
              <a:rPr lang="en-US" dirty="0" err="1"/>
              <a:t>UltraLight</a:t>
            </a:r>
            <a:r>
              <a:rPr lang="en-US" dirty="0"/>
              <a:t> 18 pt.</a:t>
            </a:r>
          </a:p>
          <a:p>
            <a:pPr lvl="0"/>
            <a:r>
              <a:rPr lang="uk-UA" dirty="0"/>
              <a:t>Максимум 3 рядки</a:t>
            </a:r>
            <a:endParaRPr lang="en-US" dirty="0"/>
          </a:p>
        </p:txBody>
      </p:sp>
      <p:sp>
        <p:nvSpPr>
          <p:cNvPr id="43" name="Slide Number Placeholder 8">
            <a:extLst>
              <a:ext uri="{FF2B5EF4-FFF2-40B4-BE49-F238E27FC236}">
                <a16:creationId xmlns:a16="http://schemas.microsoft.com/office/drawing/2014/main" id="{C95DC88F-6D46-4567-9EB2-61FE9E9219A5}"/>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41952517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ize. Shar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66526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5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Text Placeholder 6">
            <a:extLst>
              <a:ext uri="{FF2B5EF4-FFF2-40B4-BE49-F238E27FC236}">
                <a16:creationId xmlns:a16="http://schemas.microsoft.com/office/drawing/2014/main" id="{7A7CB056-5063-40F3-9148-53105EBF4308}"/>
              </a:ext>
            </a:extLst>
          </p:cNvPr>
          <p:cNvSpPr>
            <a:spLocks noGrp="1"/>
          </p:cNvSpPr>
          <p:nvPr>
            <p:ph type="body" sz="quarter" idx="11" hasCustomPrompt="1"/>
          </p:nvPr>
        </p:nvSpPr>
        <p:spPr>
          <a:xfrm>
            <a:off x="5855744" y="2854503"/>
            <a:ext cx="5059688" cy="599521"/>
          </a:xfrm>
        </p:spPr>
        <p:txBody>
          <a:bodyPr/>
          <a:lstStyle>
            <a:lvl1pPr>
              <a:spcAft>
                <a:spcPts val="0"/>
              </a:spcAft>
              <a:defRPr sz="2000">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pPr lvl="0"/>
            <a:r>
              <a:rPr lang="uk-UA" dirty="0"/>
              <a:t>Заголовок </a:t>
            </a:r>
            <a:r>
              <a:rPr lang="en-US" dirty="0"/>
              <a:t>e-Ukraine</a:t>
            </a:r>
            <a:br>
              <a:rPr lang="en-US" dirty="0"/>
            </a:br>
            <a:r>
              <a:rPr lang="en-US" dirty="0"/>
              <a:t>Bold 20 pt.</a:t>
            </a:r>
          </a:p>
        </p:txBody>
      </p:sp>
      <p:sp>
        <p:nvSpPr>
          <p:cNvPr id="29" name="Text Placeholder 10">
            <a:extLst>
              <a:ext uri="{FF2B5EF4-FFF2-40B4-BE49-F238E27FC236}">
                <a16:creationId xmlns:a16="http://schemas.microsoft.com/office/drawing/2014/main" id="{5CDE6B86-9C34-4821-858E-EBDDC1FC7764}"/>
              </a:ext>
            </a:extLst>
          </p:cNvPr>
          <p:cNvSpPr>
            <a:spLocks noGrp="1"/>
          </p:cNvSpPr>
          <p:nvPr>
            <p:ph type="body" sz="quarter" idx="12" hasCustomPrompt="1"/>
          </p:nvPr>
        </p:nvSpPr>
        <p:spPr>
          <a:xfrm>
            <a:off x="5855743" y="3552260"/>
            <a:ext cx="5059688" cy="2291577"/>
          </a:xfrm>
        </p:spPr>
        <p:txBody>
          <a:bodyPr/>
          <a:lstStyle>
            <a:lvl1pPr>
              <a:spcAft>
                <a:spcPts val="600"/>
              </a:spcAft>
              <a:defRPr sz="20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Опис.</a:t>
            </a:r>
            <a:br>
              <a:rPr lang="uk-UA" dirty="0"/>
            </a:br>
            <a:r>
              <a:rPr lang="en-US" dirty="0"/>
              <a:t>e-Ukraine </a:t>
            </a:r>
            <a:r>
              <a:rPr lang="en-US" dirty="0" err="1"/>
              <a:t>UltraLight</a:t>
            </a:r>
            <a:r>
              <a:rPr lang="en-US" dirty="0"/>
              <a:t> 20 pt.</a:t>
            </a:r>
          </a:p>
        </p:txBody>
      </p:sp>
      <p:sp>
        <p:nvSpPr>
          <p:cNvPr id="130" name="Text Placeholder 23">
            <a:extLst>
              <a:ext uri="{FF2B5EF4-FFF2-40B4-BE49-F238E27FC236}">
                <a16:creationId xmlns:a16="http://schemas.microsoft.com/office/drawing/2014/main" id="{F892DEF4-1DBF-4C83-8708-CD5BBE3D36B1}"/>
              </a:ext>
            </a:extLst>
          </p:cNvPr>
          <p:cNvSpPr>
            <a:spLocks noGrp="1"/>
          </p:cNvSpPr>
          <p:nvPr>
            <p:ph type="body" sz="quarter" idx="16" hasCustomPrompt="1"/>
          </p:nvPr>
        </p:nvSpPr>
        <p:spPr>
          <a:xfrm>
            <a:off x="5855743" y="1369415"/>
            <a:ext cx="5059689" cy="1386852"/>
          </a:xfrm>
        </p:spPr>
        <p:txBody>
          <a:bodyPr/>
          <a:lstStyle>
            <a:lvl1pPr>
              <a:defRPr sz="9600">
                <a:solidFill>
                  <a:schemeClr val="accent2"/>
                </a:solidFill>
                <a:latin typeface="+mj-lt"/>
              </a:defRPr>
            </a:lvl1pPr>
            <a:lvl2pPr>
              <a:defRPr sz="4000">
                <a:latin typeface="e-Ukraine UltraLight" panose="00000900000000000000" pitchFamily="2" charset="0"/>
              </a:defRPr>
            </a:lvl2pPr>
            <a:lvl3pPr>
              <a:defRPr sz="4000">
                <a:latin typeface="e-Ukraine UltraLight" panose="00000900000000000000" pitchFamily="2" charset="0"/>
              </a:defRPr>
            </a:lvl3pPr>
            <a:lvl4pPr>
              <a:defRPr sz="4000">
                <a:latin typeface="e-Ukraine UltraLight" panose="00000900000000000000" pitchFamily="2" charset="0"/>
              </a:defRPr>
            </a:lvl4pPr>
            <a:lvl5pPr>
              <a:defRPr sz="4000">
                <a:latin typeface="e-Ukraine UltraLight" panose="00000900000000000000" pitchFamily="2" charset="0"/>
              </a:defRPr>
            </a:lvl5pPr>
          </a:lstStyle>
          <a:p>
            <a:pPr lvl="0"/>
            <a:r>
              <a:rPr lang="en-US" dirty="0"/>
              <a:t>00</a:t>
            </a:r>
            <a:r>
              <a:rPr lang="ru-RU" dirty="0"/>
              <a:t>%</a:t>
            </a:r>
            <a:endParaRPr lang="en-US" dirty="0"/>
          </a:p>
        </p:txBody>
      </p:sp>
      <p:grpSp>
        <p:nvGrpSpPr>
          <p:cNvPr id="11" name="Group 10">
            <a:extLst>
              <a:ext uri="{FF2B5EF4-FFF2-40B4-BE49-F238E27FC236}">
                <a16:creationId xmlns:a16="http://schemas.microsoft.com/office/drawing/2014/main" id="{C90C7D61-6CF8-4BD2-9B8C-57B131E6D311}"/>
              </a:ext>
            </a:extLst>
          </p:cNvPr>
          <p:cNvGrpSpPr/>
          <p:nvPr userDrawn="1"/>
        </p:nvGrpSpPr>
        <p:grpSpPr>
          <a:xfrm>
            <a:off x="0" y="209380"/>
            <a:ext cx="12192000" cy="900000"/>
            <a:chOff x="0" y="209380"/>
            <a:chExt cx="12192000" cy="900000"/>
          </a:xfrm>
        </p:grpSpPr>
        <p:sp>
          <p:nvSpPr>
            <p:cNvPr id="12" name="Freeform: Shape 11">
              <a:extLst>
                <a:ext uri="{FF2B5EF4-FFF2-40B4-BE49-F238E27FC236}">
                  <a16:creationId xmlns:a16="http://schemas.microsoft.com/office/drawing/2014/main" id="{1B24A31C-DD59-4543-8DC9-5783C7FE3806}"/>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13" name="Graphic 22">
              <a:extLst>
                <a:ext uri="{FF2B5EF4-FFF2-40B4-BE49-F238E27FC236}">
                  <a16:creationId xmlns:a16="http://schemas.microsoft.com/office/drawing/2014/main" id="{7F15601A-17C5-437B-8CDF-0C54E0EA7F5D}"/>
                </a:ext>
              </a:extLst>
            </p:cNvPr>
            <p:cNvGrpSpPr/>
            <p:nvPr/>
          </p:nvGrpSpPr>
          <p:grpSpPr>
            <a:xfrm>
              <a:off x="10915649" y="368867"/>
              <a:ext cx="581025" cy="581025"/>
              <a:chOff x="11049699" y="311944"/>
              <a:chExt cx="446976" cy="446976"/>
            </a:xfrm>
          </p:grpSpPr>
          <p:sp>
            <p:nvSpPr>
              <p:cNvPr id="14" name="Freeform: Shape 13">
                <a:extLst>
                  <a:ext uri="{FF2B5EF4-FFF2-40B4-BE49-F238E27FC236}">
                    <a16:creationId xmlns:a16="http://schemas.microsoft.com/office/drawing/2014/main" id="{1009174F-7424-4B35-B6B4-F51EB0ECD4BE}"/>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BCD00C33-829A-4C9A-B355-DACFB52DD524}"/>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ADE35162-AA9E-486D-90EA-347166BB6083}"/>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5A78B130-F084-4CFF-85AE-C76E50E6B2A0}"/>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18" name="Freeform: Shape 17">
                <a:extLst>
                  <a:ext uri="{FF2B5EF4-FFF2-40B4-BE49-F238E27FC236}">
                    <a16:creationId xmlns:a16="http://schemas.microsoft.com/office/drawing/2014/main" id="{4C06661A-4465-48BB-BB5D-4BE853ADD243}"/>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19" name="Freeform: Shape 18">
                <a:extLst>
                  <a:ext uri="{FF2B5EF4-FFF2-40B4-BE49-F238E27FC236}">
                    <a16:creationId xmlns:a16="http://schemas.microsoft.com/office/drawing/2014/main" id="{7A53C85F-79E6-4DD7-99BB-8D8A8F0D438D}"/>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0" name="Freeform: Shape 19">
                <a:extLst>
                  <a:ext uri="{FF2B5EF4-FFF2-40B4-BE49-F238E27FC236}">
                    <a16:creationId xmlns:a16="http://schemas.microsoft.com/office/drawing/2014/main" id="{DB07496B-A057-4C3C-A97D-656F3047517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2B8C38EE-7883-439F-860B-FF2840B9AA5E}"/>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603B4931-AC93-4C08-828B-B6429C1CF477}"/>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9C3CE2C6-D438-43A2-AA95-5BC415F0006C}"/>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C5B36E1D-14F9-463A-A6A2-110F11E3D805}"/>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C327D803-0E0E-48A9-AE5F-ABB089F6E515}"/>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62CBA6D7-C3AF-4E8D-8A05-FCB0E7CE0092}"/>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7AA2F7F6-4355-4815-97F2-F4A3A19564D0}"/>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9CF22370-75C2-4C18-8AB3-E1B951B81668}"/>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083386B2-0884-487D-9257-B737EF5D767B}"/>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CE3449DD-70FE-4502-BEB2-57B2E52A73A7}"/>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66897A6D-CFA0-4C6A-9095-92CE210885E5}"/>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34" name="Title 11">
            <a:extLst>
              <a:ext uri="{FF2B5EF4-FFF2-40B4-BE49-F238E27FC236}">
                <a16:creationId xmlns:a16="http://schemas.microsoft.com/office/drawing/2014/main" id="{7C2043E9-4C19-4AE2-AD07-15360D8B0195}"/>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Частка</a:t>
            </a:r>
            <a:endParaRPr lang="en-US" dirty="0"/>
          </a:p>
        </p:txBody>
      </p:sp>
      <p:sp>
        <p:nvSpPr>
          <p:cNvPr id="37" name="Slide Number Placeholder 8">
            <a:extLst>
              <a:ext uri="{FF2B5EF4-FFF2-40B4-BE49-F238E27FC236}">
                <a16:creationId xmlns:a16="http://schemas.microsoft.com/office/drawing/2014/main" id="{95B2F95F-4E37-437A-944A-836E8C9FF0BB}"/>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29473734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Комплекс">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21673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C90C7D61-6CF8-4BD2-9B8C-57B131E6D311}"/>
              </a:ext>
            </a:extLst>
          </p:cNvPr>
          <p:cNvGrpSpPr/>
          <p:nvPr userDrawn="1"/>
        </p:nvGrpSpPr>
        <p:grpSpPr>
          <a:xfrm>
            <a:off x="0" y="209380"/>
            <a:ext cx="12192000" cy="900000"/>
            <a:chOff x="0" y="209380"/>
            <a:chExt cx="12192000" cy="900000"/>
          </a:xfrm>
        </p:grpSpPr>
        <p:sp>
          <p:nvSpPr>
            <p:cNvPr id="12" name="Freeform: Shape 11">
              <a:extLst>
                <a:ext uri="{FF2B5EF4-FFF2-40B4-BE49-F238E27FC236}">
                  <a16:creationId xmlns:a16="http://schemas.microsoft.com/office/drawing/2014/main" id="{1B24A31C-DD59-4543-8DC9-5783C7FE3806}"/>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13" name="Graphic 22">
              <a:extLst>
                <a:ext uri="{FF2B5EF4-FFF2-40B4-BE49-F238E27FC236}">
                  <a16:creationId xmlns:a16="http://schemas.microsoft.com/office/drawing/2014/main" id="{7F15601A-17C5-437B-8CDF-0C54E0EA7F5D}"/>
                </a:ext>
              </a:extLst>
            </p:cNvPr>
            <p:cNvGrpSpPr/>
            <p:nvPr/>
          </p:nvGrpSpPr>
          <p:grpSpPr>
            <a:xfrm>
              <a:off x="10915649" y="368867"/>
              <a:ext cx="581025" cy="581025"/>
              <a:chOff x="11049699" y="311944"/>
              <a:chExt cx="446976" cy="446976"/>
            </a:xfrm>
          </p:grpSpPr>
          <p:sp>
            <p:nvSpPr>
              <p:cNvPr id="14" name="Freeform: Shape 13">
                <a:extLst>
                  <a:ext uri="{FF2B5EF4-FFF2-40B4-BE49-F238E27FC236}">
                    <a16:creationId xmlns:a16="http://schemas.microsoft.com/office/drawing/2014/main" id="{1009174F-7424-4B35-B6B4-F51EB0ECD4BE}"/>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BCD00C33-829A-4C9A-B355-DACFB52DD524}"/>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ADE35162-AA9E-486D-90EA-347166BB6083}"/>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5A78B130-F084-4CFF-85AE-C76E50E6B2A0}"/>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18" name="Freeform: Shape 17">
                <a:extLst>
                  <a:ext uri="{FF2B5EF4-FFF2-40B4-BE49-F238E27FC236}">
                    <a16:creationId xmlns:a16="http://schemas.microsoft.com/office/drawing/2014/main" id="{4C06661A-4465-48BB-BB5D-4BE853ADD243}"/>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19" name="Freeform: Shape 18">
                <a:extLst>
                  <a:ext uri="{FF2B5EF4-FFF2-40B4-BE49-F238E27FC236}">
                    <a16:creationId xmlns:a16="http://schemas.microsoft.com/office/drawing/2014/main" id="{7A53C85F-79E6-4DD7-99BB-8D8A8F0D438D}"/>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0" name="Freeform: Shape 19">
                <a:extLst>
                  <a:ext uri="{FF2B5EF4-FFF2-40B4-BE49-F238E27FC236}">
                    <a16:creationId xmlns:a16="http://schemas.microsoft.com/office/drawing/2014/main" id="{DB07496B-A057-4C3C-A97D-656F3047517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2B8C38EE-7883-439F-860B-FF2840B9AA5E}"/>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603B4931-AC93-4C08-828B-B6429C1CF477}"/>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9C3CE2C6-D438-43A2-AA95-5BC415F0006C}"/>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C5B36E1D-14F9-463A-A6A2-110F11E3D805}"/>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C327D803-0E0E-48A9-AE5F-ABB089F6E515}"/>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62CBA6D7-C3AF-4E8D-8A05-FCB0E7CE0092}"/>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7AA2F7F6-4355-4815-97F2-F4A3A19564D0}"/>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9CF22370-75C2-4C18-8AB3-E1B951B81668}"/>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083386B2-0884-487D-9257-B737EF5D767B}"/>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CE3449DD-70FE-4502-BEB2-57B2E52A73A7}"/>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66897A6D-CFA0-4C6A-9095-92CE210885E5}"/>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34" name="Title 11">
            <a:extLst>
              <a:ext uri="{FF2B5EF4-FFF2-40B4-BE49-F238E27FC236}">
                <a16:creationId xmlns:a16="http://schemas.microsoft.com/office/drawing/2014/main" id="{7C2043E9-4C19-4AE2-AD07-15360D8B0195}"/>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Комплекс</a:t>
            </a:r>
            <a:endParaRPr lang="en-US" dirty="0"/>
          </a:p>
        </p:txBody>
      </p:sp>
      <p:sp>
        <p:nvSpPr>
          <p:cNvPr id="35" name="Circle">
            <a:extLst>
              <a:ext uri="{FF2B5EF4-FFF2-40B4-BE49-F238E27FC236}">
                <a16:creationId xmlns:a16="http://schemas.microsoft.com/office/drawing/2014/main" id="{9BFE4FF7-4857-43C1-9190-DF16FBDFC260}"/>
              </a:ext>
            </a:extLst>
          </p:cNvPr>
          <p:cNvSpPr/>
          <p:nvPr userDrawn="1"/>
        </p:nvSpPr>
        <p:spPr>
          <a:xfrm>
            <a:off x="-2602897" y="1331315"/>
            <a:ext cx="5205793" cy="5205793"/>
          </a:xfrm>
          <a:prstGeom prst="ellipse">
            <a:avLst/>
          </a:prstGeom>
          <a:solidFill>
            <a:schemeClr val="bg2"/>
          </a:solidFill>
          <a:ln w="76200">
            <a:solidFill>
              <a:schemeClr val="accent1"/>
            </a:solidFill>
            <a:miter lim="400000"/>
          </a:ln>
        </p:spPr>
        <p:txBody>
          <a:bodyPr lIns="50800" tIns="50800" rIns="50800" bIns="50800" anchor="ctr"/>
          <a:lstStyle/>
          <a:p>
            <a:pPr defTabSz="778933">
              <a:defRPr b="0">
                <a:solidFill>
                  <a:srgbClr val="FFFFFF"/>
                </a:solidFill>
                <a:latin typeface="e-Ukraine UltraLight"/>
                <a:ea typeface="e-Ukraine UltraLight"/>
                <a:cs typeface="e-Ukraine UltraLight"/>
                <a:sym typeface="e-Ukraine UltraLight"/>
              </a:defRPr>
            </a:pPr>
            <a:endParaRPr dirty="0">
              <a:latin typeface="e-Ukraine UltraLight" panose="00000500000000000000" pitchFamily="50" charset="0"/>
            </a:endParaRPr>
          </a:p>
        </p:txBody>
      </p:sp>
      <p:sp>
        <p:nvSpPr>
          <p:cNvPr id="3" name="Rectangle 2">
            <a:extLst>
              <a:ext uri="{FF2B5EF4-FFF2-40B4-BE49-F238E27FC236}">
                <a16:creationId xmlns:a16="http://schemas.microsoft.com/office/drawing/2014/main" id="{20E402F7-6CAA-4503-BEF6-9187CDA09607}"/>
              </a:ext>
            </a:extLst>
          </p:cNvPr>
          <p:cNvSpPr/>
          <p:nvPr userDrawn="1"/>
        </p:nvSpPr>
        <p:spPr bwMode="ltGray">
          <a:xfrm>
            <a:off x="-5695950" y="-3238500"/>
            <a:ext cx="5695950" cy="12134850"/>
          </a:xfrm>
          <a:prstGeom prst="rect">
            <a:avLst/>
          </a:prstGeom>
          <a:solidFill>
            <a:srgbClr val="E6E6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dirty="0" err="1">
              <a:solidFill>
                <a:schemeClr val="bg1"/>
              </a:solidFill>
              <a:latin typeface="e-Ukraine UltraLight" panose="00000500000000000000" pitchFamily="50" charset="0"/>
            </a:endParaRPr>
          </a:p>
        </p:txBody>
      </p:sp>
      <p:sp>
        <p:nvSpPr>
          <p:cNvPr id="36" name="Text Placeholder 10">
            <a:extLst>
              <a:ext uri="{FF2B5EF4-FFF2-40B4-BE49-F238E27FC236}">
                <a16:creationId xmlns:a16="http://schemas.microsoft.com/office/drawing/2014/main" id="{0EBE57CE-FCFA-42A9-952B-A1D309C33E02}"/>
              </a:ext>
            </a:extLst>
          </p:cNvPr>
          <p:cNvSpPr>
            <a:spLocks noGrp="1"/>
          </p:cNvSpPr>
          <p:nvPr>
            <p:ph type="body" sz="quarter" idx="11" hasCustomPrompt="1"/>
          </p:nvPr>
        </p:nvSpPr>
        <p:spPr>
          <a:xfrm>
            <a:off x="4594343" y="1331315"/>
            <a:ext cx="6902332" cy="516535"/>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2 рядків</a:t>
            </a:r>
          </a:p>
        </p:txBody>
      </p:sp>
      <p:sp>
        <p:nvSpPr>
          <p:cNvPr id="37" name="Text Placeholder 10">
            <a:extLst>
              <a:ext uri="{FF2B5EF4-FFF2-40B4-BE49-F238E27FC236}">
                <a16:creationId xmlns:a16="http://schemas.microsoft.com/office/drawing/2014/main" id="{9D3C0918-4BAC-4A83-B4A3-C5A64BBACC6D}"/>
              </a:ext>
            </a:extLst>
          </p:cNvPr>
          <p:cNvSpPr>
            <a:spLocks noGrp="1"/>
          </p:cNvSpPr>
          <p:nvPr>
            <p:ph type="body" sz="quarter" idx="12" hasCustomPrompt="1"/>
          </p:nvPr>
        </p:nvSpPr>
        <p:spPr>
          <a:xfrm>
            <a:off x="4594343" y="2272822"/>
            <a:ext cx="6902332" cy="516535"/>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2 рядків</a:t>
            </a:r>
          </a:p>
        </p:txBody>
      </p:sp>
      <p:sp>
        <p:nvSpPr>
          <p:cNvPr id="38" name="Text Placeholder 10">
            <a:extLst>
              <a:ext uri="{FF2B5EF4-FFF2-40B4-BE49-F238E27FC236}">
                <a16:creationId xmlns:a16="http://schemas.microsoft.com/office/drawing/2014/main" id="{0C7DFCB8-7393-445F-B01E-7A4B774073A0}"/>
              </a:ext>
            </a:extLst>
          </p:cNvPr>
          <p:cNvSpPr>
            <a:spLocks noGrp="1"/>
          </p:cNvSpPr>
          <p:nvPr>
            <p:ph type="body" sz="quarter" idx="13" hasCustomPrompt="1"/>
          </p:nvPr>
        </p:nvSpPr>
        <p:spPr>
          <a:xfrm>
            <a:off x="4594343" y="3214329"/>
            <a:ext cx="6902332" cy="516535"/>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2 рядків</a:t>
            </a:r>
          </a:p>
        </p:txBody>
      </p:sp>
      <p:sp>
        <p:nvSpPr>
          <p:cNvPr id="39" name="Text Placeholder 10">
            <a:extLst>
              <a:ext uri="{FF2B5EF4-FFF2-40B4-BE49-F238E27FC236}">
                <a16:creationId xmlns:a16="http://schemas.microsoft.com/office/drawing/2014/main" id="{6735C810-7549-4498-AA2B-AC75E30EBF9E}"/>
              </a:ext>
            </a:extLst>
          </p:cNvPr>
          <p:cNvSpPr>
            <a:spLocks noGrp="1"/>
          </p:cNvSpPr>
          <p:nvPr>
            <p:ph type="body" sz="quarter" idx="14" hasCustomPrompt="1"/>
          </p:nvPr>
        </p:nvSpPr>
        <p:spPr>
          <a:xfrm>
            <a:off x="4594343" y="4155836"/>
            <a:ext cx="6902332" cy="516535"/>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2 рядків</a:t>
            </a:r>
          </a:p>
        </p:txBody>
      </p:sp>
      <p:sp>
        <p:nvSpPr>
          <p:cNvPr id="40" name="Text Placeholder 10">
            <a:extLst>
              <a:ext uri="{FF2B5EF4-FFF2-40B4-BE49-F238E27FC236}">
                <a16:creationId xmlns:a16="http://schemas.microsoft.com/office/drawing/2014/main" id="{C783AA62-9F99-4819-BC7E-2264E0B241CD}"/>
              </a:ext>
            </a:extLst>
          </p:cNvPr>
          <p:cNvSpPr>
            <a:spLocks noGrp="1"/>
          </p:cNvSpPr>
          <p:nvPr>
            <p:ph type="body" sz="quarter" idx="15" hasCustomPrompt="1"/>
          </p:nvPr>
        </p:nvSpPr>
        <p:spPr>
          <a:xfrm>
            <a:off x="4594343" y="5097343"/>
            <a:ext cx="6902332" cy="516535"/>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2 рядків</a:t>
            </a:r>
          </a:p>
        </p:txBody>
      </p:sp>
      <p:sp>
        <p:nvSpPr>
          <p:cNvPr id="41" name="Text Placeholder 10">
            <a:extLst>
              <a:ext uri="{FF2B5EF4-FFF2-40B4-BE49-F238E27FC236}">
                <a16:creationId xmlns:a16="http://schemas.microsoft.com/office/drawing/2014/main" id="{0CC6243C-61D2-4116-8772-EC66F6D3D63B}"/>
              </a:ext>
            </a:extLst>
          </p:cNvPr>
          <p:cNvSpPr>
            <a:spLocks noGrp="1"/>
          </p:cNvSpPr>
          <p:nvPr>
            <p:ph type="body" sz="quarter" idx="16" hasCustomPrompt="1"/>
          </p:nvPr>
        </p:nvSpPr>
        <p:spPr>
          <a:xfrm>
            <a:off x="4594343" y="6038849"/>
            <a:ext cx="6902332" cy="516535"/>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2 рядків</a:t>
            </a:r>
          </a:p>
        </p:txBody>
      </p:sp>
      <p:sp>
        <p:nvSpPr>
          <p:cNvPr id="42" name="Text Placeholder 6">
            <a:extLst>
              <a:ext uri="{FF2B5EF4-FFF2-40B4-BE49-F238E27FC236}">
                <a16:creationId xmlns:a16="http://schemas.microsoft.com/office/drawing/2014/main" id="{B4C07D86-4213-42D1-9ECC-FAFEAFDEC22B}"/>
              </a:ext>
            </a:extLst>
          </p:cNvPr>
          <p:cNvSpPr>
            <a:spLocks noGrp="1"/>
          </p:cNvSpPr>
          <p:nvPr>
            <p:ph type="body" sz="quarter" idx="10" hasCustomPrompt="1"/>
          </p:nvPr>
        </p:nvSpPr>
        <p:spPr>
          <a:xfrm>
            <a:off x="395089" y="3291969"/>
            <a:ext cx="1812718" cy="1284484"/>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комплексу</a:t>
            </a:r>
            <a:br>
              <a:rPr lang="uk-UA" dirty="0"/>
            </a:br>
            <a:r>
              <a:rPr lang="en-US" dirty="0"/>
              <a:t>e-Ukraine</a:t>
            </a:r>
            <a:br>
              <a:rPr lang="en-US" dirty="0"/>
            </a:br>
            <a:r>
              <a:rPr lang="en-US" dirty="0"/>
              <a:t>Bold </a:t>
            </a:r>
            <a:r>
              <a:rPr lang="uk-UA" dirty="0"/>
              <a:t>16</a:t>
            </a:r>
            <a:r>
              <a:rPr lang="en-US" dirty="0"/>
              <a:t> pt.</a:t>
            </a:r>
            <a:r>
              <a:rPr lang="uk-UA" dirty="0"/>
              <a:t/>
            </a:r>
            <a:br>
              <a:rPr lang="uk-UA" dirty="0"/>
            </a:br>
            <a:r>
              <a:rPr lang="uk-UA" dirty="0"/>
              <a:t>До 5 рядків</a:t>
            </a:r>
          </a:p>
        </p:txBody>
      </p:sp>
      <p:sp>
        <p:nvSpPr>
          <p:cNvPr id="45" name="Slide Number Placeholder 8">
            <a:extLst>
              <a:ext uri="{FF2B5EF4-FFF2-40B4-BE49-F238E27FC236}">
                <a16:creationId xmlns:a16="http://schemas.microsoft.com/office/drawing/2014/main" id="{F39A0DB7-6288-44D6-8B27-B87A14B9E90D}"/>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7748486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Комплекс 2">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49210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5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C90C7D61-6CF8-4BD2-9B8C-57B131E6D311}"/>
              </a:ext>
            </a:extLst>
          </p:cNvPr>
          <p:cNvGrpSpPr/>
          <p:nvPr userDrawn="1"/>
        </p:nvGrpSpPr>
        <p:grpSpPr>
          <a:xfrm>
            <a:off x="0" y="209380"/>
            <a:ext cx="12192000" cy="900000"/>
            <a:chOff x="0" y="209380"/>
            <a:chExt cx="12192000" cy="900000"/>
          </a:xfrm>
        </p:grpSpPr>
        <p:sp>
          <p:nvSpPr>
            <p:cNvPr id="12" name="Freeform: Shape 11">
              <a:extLst>
                <a:ext uri="{FF2B5EF4-FFF2-40B4-BE49-F238E27FC236}">
                  <a16:creationId xmlns:a16="http://schemas.microsoft.com/office/drawing/2014/main" id="{1B24A31C-DD59-4543-8DC9-5783C7FE3806}"/>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13" name="Graphic 22">
              <a:extLst>
                <a:ext uri="{FF2B5EF4-FFF2-40B4-BE49-F238E27FC236}">
                  <a16:creationId xmlns:a16="http://schemas.microsoft.com/office/drawing/2014/main" id="{7F15601A-17C5-437B-8CDF-0C54E0EA7F5D}"/>
                </a:ext>
              </a:extLst>
            </p:cNvPr>
            <p:cNvGrpSpPr/>
            <p:nvPr/>
          </p:nvGrpSpPr>
          <p:grpSpPr>
            <a:xfrm>
              <a:off x="10915649" y="368867"/>
              <a:ext cx="581025" cy="581025"/>
              <a:chOff x="11049699" y="311944"/>
              <a:chExt cx="446976" cy="446976"/>
            </a:xfrm>
          </p:grpSpPr>
          <p:sp>
            <p:nvSpPr>
              <p:cNvPr id="14" name="Freeform: Shape 13">
                <a:extLst>
                  <a:ext uri="{FF2B5EF4-FFF2-40B4-BE49-F238E27FC236}">
                    <a16:creationId xmlns:a16="http://schemas.microsoft.com/office/drawing/2014/main" id="{1009174F-7424-4B35-B6B4-F51EB0ECD4BE}"/>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BCD00C33-829A-4C9A-B355-DACFB52DD524}"/>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ADE35162-AA9E-486D-90EA-347166BB6083}"/>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5A78B130-F084-4CFF-85AE-C76E50E6B2A0}"/>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18" name="Freeform: Shape 17">
                <a:extLst>
                  <a:ext uri="{FF2B5EF4-FFF2-40B4-BE49-F238E27FC236}">
                    <a16:creationId xmlns:a16="http://schemas.microsoft.com/office/drawing/2014/main" id="{4C06661A-4465-48BB-BB5D-4BE853ADD243}"/>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19" name="Freeform: Shape 18">
                <a:extLst>
                  <a:ext uri="{FF2B5EF4-FFF2-40B4-BE49-F238E27FC236}">
                    <a16:creationId xmlns:a16="http://schemas.microsoft.com/office/drawing/2014/main" id="{7A53C85F-79E6-4DD7-99BB-8D8A8F0D438D}"/>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0" name="Freeform: Shape 19">
                <a:extLst>
                  <a:ext uri="{FF2B5EF4-FFF2-40B4-BE49-F238E27FC236}">
                    <a16:creationId xmlns:a16="http://schemas.microsoft.com/office/drawing/2014/main" id="{DB07496B-A057-4C3C-A97D-656F3047517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2B8C38EE-7883-439F-860B-FF2840B9AA5E}"/>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603B4931-AC93-4C08-828B-B6429C1CF477}"/>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9C3CE2C6-D438-43A2-AA95-5BC415F0006C}"/>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C5B36E1D-14F9-463A-A6A2-110F11E3D805}"/>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C327D803-0E0E-48A9-AE5F-ABB089F6E515}"/>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62CBA6D7-C3AF-4E8D-8A05-FCB0E7CE0092}"/>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7AA2F7F6-4355-4815-97F2-F4A3A19564D0}"/>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9CF22370-75C2-4C18-8AB3-E1B951B81668}"/>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083386B2-0884-487D-9257-B737EF5D767B}"/>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CE3449DD-70FE-4502-BEB2-57B2E52A73A7}"/>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66897A6D-CFA0-4C6A-9095-92CE210885E5}"/>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34" name="Title 11">
            <a:extLst>
              <a:ext uri="{FF2B5EF4-FFF2-40B4-BE49-F238E27FC236}">
                <a16:creationId xmlns:a16="http://schemas.microsoft.com/office/drawing/2014/main" id="{7C2043E9-4C19-4AE2-AD07-15360D8B0195}"/>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Комплекс 2</a:t>
            </a:r>
            <a:endParaRPr lang="en-US" dirty="0"/>
          </a:p>
        </p:txBody>
      </p:sp>
      <p:sp>
        <p:nvSpPr>
          <p:cNvPr id="36" name="Text Placeholder 10">
            <a:extLst>
              <a:ext uri="{FF2B5EF4-FFF2-40B4-BE49-F238E27FC236}">
                <a16:creationId xmlns:a16="http://schemas.microsoft.com/office/drawing/2014/main" id="{0EBE57CE-FCFA-42A9-952B-A1D309C33E02}"/>
              </a:ext>
            </a:extLst>
          </p:cNvPr>
          <p:cNvSpPr>
            <a:spLocks noGrp="1"/>
          </p:cNvSpPr>
          <p:nvPr>
            <p:ph type="body" sz="quarter" idx="11" hasCustomPrompt="1"/>
          </p:nvPr>
        </p:nvSpPr>
        <p:spPr>
          <a:xfrm>
            <a:off x="8141872" y="1483934"/>
            <a:ext cx="3327828" cy="703601"/>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42" name="Text Placeholder 6">
            <a:extLst>
              <a:ext uri="{FF2B5EF4-FFF2-40B4-BE49-F238E27FC236}">
                <a16:creationId xmlns:a16="http://schemas.microsoft.com/office/drawing/2014/main" id="{B4C07D86-4213-42D1-9ECC-FAFEAFDEC22B}"/>
              </a:ext>
            </a:extLst>
          </p:cNvPr>
          <p:cNvSpPr>
            <a:spLocks noGrp="1"/>
          </p:cNvSpPr>
          <p:nvPr>
            <p:ph type="body" sz="quarter" idx="10" hasCustomPrompt="1"/>
          </p:nvPr>
        </p:nvSpPr>
        <p:spPr>
          <a:xfrm>
            <a:off x="4563428" y="3383642"/>
            <a:ext cx="3065144" cy="1375198"/>
          </a:xfrm>
        </p:spPr>
        <p:txBody>
          <a:bodyPr anchor="ctr"/>
          <a:lstStyle>
            <a:lvl1pPr algn="ctr">
              <a:defRPr sz="18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комплексу</a:t>
            </a:r>
            <a:br>
              <a:rPr lang="uk-UA" dirty="0"/>
            </a:br>
            <a:r>
              <a:rPr lang="en-US" dirty="0"/>
              <a:t>e-Ukraine</a:t>
            </a:r>
            <a:br>
              <a:rPr lang="en-US" dirty="0"/>
            </a:br>
            <a:r>
              <a:rPr lang="en-US" dirty="0"/>
              <a:t>Bold </a:t>
            </a:r>
            <a:r>
              <a:rPr lang="uk-UA" dirty="0"/>
              <a:t>16</a:t>
            </a:r>
            <a:r>
              <a:rPr lang="en-US" dirty="0"/>
              <a:t> pt.</a:t>
            </a:r>
            <a:r>
              <a:rPr lang="uk-UA" dirty="0"/>
              <a:t/>
            </a:r>
            <a:br>
              <a:rPr lang="uk-UA" dirty="0"/>
            </a:br>
            <a:r>
              <a:rPr lang="uk-UA" dirty="0"/>
              <a:t>До 5 рядків</a:t>
            </a:r>
          </a:p>
        </p:txBody>
      </p:sp>
      <p:sp>
        <p:nvSpPr>
          <p:cNvPr id="43" name="Shape">
            <a:extLst>
              <a:ext uri="{FF2B5EF4-FFF2-40B4-BE49-F238E27FC236}">
                <a16:creationId xmlns:a16="http://schemas.microsoft.com/office/drawing/2014/main" id="{422BA15C-EFDA-446B-901D-440FEE15E456}"/>
              </a:ext>
            </a:extLst>
          </p:cNvPr>
          <p:cNvSpPr/>
          <p:nvPr userDrawn="1"/>
        </p:nvSpPr>
        <p:spPr>
          <a:xfrm>
            <a:off x="3917282" y="1835735"/>
            <a:ext cx="4357436" cy="4357435"/>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5" y="21600"/>
                  <a:pt x="0" y="16753"/>
                  <a:pt x="0" y="10797"/>
                </a:cubicBezTo>
                <a:cubicBezTo>
                  <a:pt x="0" y="4845"/>
                  <a:pt x="4845" y="0"/>
                  <a:pt x="10800" y="0"/>
                </a:cubicBezTo>
                <a:cubicBezTo>
                  <a:pt x="16753" y="0"/>
                  <a:pt x="21600" y="4845"/>
                  <a:pt x="21600" y="10797"/>
                </a:cubicBezTo>
                <a:cubicBezTo>
                  <a:pt x="21600" y="16753"/>
                  <a:pt x="16753" y="21600"/>
                  <a:pt x="10800" y="21600"/>
                </a:cubicBezTo>
                <a:close/>
                <a:moveTo>
                  <a:pt x="10800" y="1020"/>
                </a:moveTo>
                <a:cubicBezTo>
                  <a:pt x="5408" y="1020"/>
                  <a:pt x="1020" y="5405"/>
                  <a:pt x="1020" y="10797"/>
                </a:cubicBezTo>
                <a:cubicBezTo>
                  <a:pt x="1020" y="16192"/>
                  <a:pt x="5405" y="20580"/>
                  <a:pt x="10800" y="20580"/>
                </a:cubicBezTo>
                <a:cubicBezTo>
                  <a:pt x="16192" y="20580"/>
                  <a:pt x="20580" y="16192"/>
                  <a:pt x="20580" y="10797"/>
                </a:cubicBezTo>
                <a:cubicBezTo>
                  <a:pt x="20580" y="5405"/>
                  <a:pt x="16192" y="1020"/>
                  <a:pt x="10800" y="1020"/>
                </a:cubicBezTo>
                <a:close/>
              </a:path>
            </a:pathLst>
          </a:custGeom>
          <a:solidFill>
            <a:schemeClr val="accent1"/>
          </a:solidFill>
          <a:ln w="12700">
            <a:miter lim="400000"/>
          </a:ln>
        </p:spPr>
        <p:txBody>
          <a:bodyPr lIns="59013" tIns="59013" rIns="59013" bIns="59013" anchor="ctr"/>
          <a:lstStyle/>
          <a:p>
            <a:pPr algn="l" defTabSz="590133">
              <a:lnSpc>
                <a:spcPct val="93000"/>
              </a:lnSpc>
              <a:defRPr sz="2200" b="0">
                <a:latin typeface="Arial"/>
                <a:ea typeface="Arial"/>
                <a:cs typeface="Arial"/>
                <a:sym typeface="Arial"/>
              </a:defRPr>
            </a:pPr>
            <a:endParaRPr dirty="0">
              <a:latin typeface="e-Ukraine UltraLight" panose="00000500000000000000" pitchFamily="50" charset="0"/>
            </a:endParaRPr>
          </a:p>
        </p:txBody>
      </p:sp>
      <p:sp>
        <p:nvSpPr>
          <p:cNvPr id="44" name="Text Placeholder 10">
            <a:extLst>
              <a:ext uri="{FF2B5EF4-FFF2-40B4-BE49-F238E27FC236}">
                <a16:creationId xmlns:a16="http://schemas.microsoft.com/office/drawing/2014/main" id="{C6522292-B853-4CAD-AE6E-E0B274EB9761}"/>
              </a:ext>
            </a:extLst>
          </p:cNvPr>
          <p:cNvSpPr>
            <a:spLocks noGrp="1"/>
          </p:cNvSpPr>
          <p:nvPr>
            <p:ph type="body" sz="quarter" idx="17" hasCustomPrompt="1"/>
          </p:nvPr>
        </p:nvSpPr>
        <p:spPr>
          <a:xfrm>
            <a:off x="8707832" y="3719441"/>
            <a:ext cx="2761868" cy="703601"/>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45" name="Text Placeholder 10">
            <a:extLst>
              <a:ext uri="{FF2B5EF4-FFF2-40B4-BE49-F238E27FC236}">
                <a16:creationId xmlns:a16="http://schemas.microsoft.com/office/drawing/2014/main" id="{59E78B5E-7FEB-4BF0-9A89-9E555BA5DB9D}"/>
              </a:ext>
            </a:extLst>
          </p:cNvPr>
          <p:cNvSpPr>
            <a:spLocks noGrp="1"/>
          </p:cNvSpPr>
          <p:nvPr>
            <p:ph type="body" sz="quarter" idx="18" hasCustomPrompt="1"/>
          </p:nvPr>
        </p:nvSpPr>
        <p:spPr>
          <a:xfrm>
            <a:off x="8141872" y="5684984"/>
            <a:ext cx="3327828" cy="703601"/>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46" name="Text Placeholder 10">
            <a:extLst>
              <a:ext uri="{FF2B5EF4-FFF2-40B4-BE49-F238E27FC236}">
                <a16:creationId xmlns:a16="http://schemas.microsoft.com/office/drawing/2014/main" id="{DED8FA2E-2E6F-472D-928C-43193B70A7AA}"/>
              </a:ext>
            </a:extLst>
          </p:cNvPr>
          <p:cNvSpPr>
            <a:spLocks noGrp="1"/>
          </p:cNvSpPr>
          <p:nvPr>
            <p:ph type="body" sz="quarter" idx="19" hasCustomPrompt="1"/>
          </p:nvPr>
        </p:nvSpPr>
        <p:spPr>
          <a:xfrm>
            <a:off x="695325" y="1483934"/>
            <a:ext cx="3327828" cy="703601"/>
          </a:xfrm>
        </p:spPr>
        <p:txBody>
          <a:bodyPr/>
          <a:lstStyle>
            <a:lvl1pPr algn="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47" name="Text Placeholder 10">
            <a:extLst>
              <a:ext uri="{FF2B5EF4-FFF2-40B4-BE49-F238E27FC236}">
                <a16:creationId xmlns:a16="http://schemas.microsoft.com/office/drawing/2014/main" id="{1F2B48EC-E988-44A5-AFFB-668B2C37C36E}"/>
              </a:ext>
            </a:extLst>
          </p:cNvPr>
          <p:cNvSpPr>
            <a:spLocks noGrp="1"/>
          </p:cNvSpPr>
          <p:nvPr>
            <p:ph type="body" sz="quarter" idx="20" hasCustomPrompt="1"/>
          </p:nvPr>
        </p:nvSpPr>
        <p:spPr>
          <a:xfrm>
            <a:off x="695325" y="3719441"/>
            <a:ext cx="2629498" cy="703601"/>
          </a:xfrm>
        </p:spPr>
        <p:txBody>
          <a:bodyPr/>
          <a:lstStyle>
            <a:lvl1pPr algn="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48" name="Text Placeholder 10">
            <a:extLst>
              <a:ext uri="{FF2B5EF4-FFF2-40B4-BE49-F238E27FC236}">
                <a16:creationId xmlns:a16="http://schemas.microsoft.com/office/drawing/2014/main" id="{051BF6ED-562C-45F8-BF8A-2F9BB640D62A}"/>
              </a:ext>
            </a:extLst>
          </p:cNvPr>
          <p:cNvSpPr>
            <a:spLocks noGrp="1"/>
          </p:cNvSpPr>
          <p:nvPr>
            <p:ph type="body" sz="quarter" idx="21" hasCustomPrompt="1"/>
          </p:nvPr>
        </p:nvSpPr>
        <p:spPr>
          <a:xfrm>
            <a:off x="695325" y="5684984"/>
            <a:ext cx="3327828" cy="703601"/>
          </a:xfrm>
        </p:spPr>
        <p:txBody>
          <a:bodyPr/>
          <a:lstStyle>
            <a:lvl1pPr algn="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 </a:t>
            </a: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3 рядків</a:t>
            </a:r>
          </a:p>
        </p:txBody>
      </p:sp>
      <p:sp>
        <p:nvSpPr>
          <p:cNvPr id="38" name="Slide Number Placeholder 8">
            <a:extLst>
              <a:ext uri="{FF2B5EF4-FFF2-40B4-BE49-F238E27FC236}">
                <a16:creationId xmlns:a16="http://schemas.microsoft.com/office/drawing/2014/main" id="{8F7A2699-6520-4528-B2DA-10D303B400CF}"/>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04603666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19" userDrawn="1">
          <p15:clr>
            <a:srgbClr val="FBAE40"/>
          </p15:clr>
        </p15:guide>
        <p15:guide id="2" pos="43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Лише заголовок">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51967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6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5E9A958E-B75E-4DEE-AB47-A06058B6CF55}"/>
              </a:ext>
            </a:extLst>
          </p:cNvPr>
          <p:cNvGrpSpPr/>
          <p:nvPr userDrawn="1"/>
        </p:nvGrpSpPr>
        <p:grpSpPr>
          <a:xfrm>
            <a:off x="0" y="209380"/>
            <a:ext cx="12192000" cy="900000"/>
            <a:chOff x="0" y="209380"/>
            <a:chExt cx="12192000" cy="900000"/>
          </a:xfrm>
        </p:grpSpPr>
        <p:sp>
          <p:nvSpPr>
            <p:cNvPr id="31" name="Freeform: Shape 30">
              <a:extLst>
                <a:ext uri="{FF2B5EF4-FFF2-40B4-BE49-F238E27FC236}">
                  <a16:creationId xmlns:a16="http://schemas.microsoft.com/office/drawing/2014/main" id="{3FB98819-33DA-4EC7-AECB-83E9AE483D52}"/>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32" name="Graphic 22">
              <a:extLst>
                <a:ext uri="{FF2B5EF4-FFF2-40B4-BE49-F238E27FC236}">
                  <a16:creationId xmlns:a16="http://schemas.microsoft.com/office/drawing/2014/main" id="{6FF4BA8A-ABC9-42F9-AA70-C73C89C4E357}"/>
                </a:ext>
              </a:extLst>
            </p:cNvPr>
            <p:cNvGrpSpPr/>
            <p:nvPr/>
          </p:nvGrpSpPr>
          <p:grpSpPr>
            <a:xfrm>
              <a:off x="10915649" y="368867"/>
              <a:ext cx="581025" cy="581025"/>
              <a:chOff x="11049699" y="311944"/>
              <a:chExt cx="446976" cy="446976"/>
            </a:xfrm>
          </p:grpSpPr>
          <p:sp>
            <p:nvSpPr>
              <p:cNvPr id="33" name="Freeform: Shape 32">
                <a:extLst>
                  <a:ext uri="{FF2B5EF4-FFF2-40B4-BE49-F238E27FC236}">
                    <a16:creationId xmlns:a16="http://schemas.microsoft.com/office/drawing/2014/main" id="{98F2B1BB-5EC5-4815-A77C-941F9412E70D}"/>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054C863D-707E-47C9-AA48-FF9B75ED5B1E}"/>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4124CA9B-27DB-4449-B9A6-46142F73C106}"/>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F479BBB7-863C-40E4-B9B8-9DC71B7CEA64}"/>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32E45C0A-B023-42D7-A620-91858EF67964}"/>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1C5E4408-C808-4486-8BE7-E7ECCE24D426}"/>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F3A0B900-D590-4002-B19F-C8150A1EC2A2}"/>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D3795880-81C7-4DF4-AC64-1C5EBD7A896C}"/>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DBDCEA77-4A1A-4038-BF8A-0F74DB801D95}"/>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E74A38E7-8AF4-494E-B275-8ABCB9DBF7D0}"/>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1FADF31D-7740-4424-9B25-FDDDC2735309}"/>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A5AE5E0B-090B-4CF9-8531-4CA4AAF62FFF}"/>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DAA459D2-88B6-4F5A-A6DF-1E151F1F3BC8}"/>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6" name="Freeform: Shape 45">
                <a:extLst>
                  <a:ext uri="{FF2B5EF4-FFF2-40B4-BE49-F238E27FC236}">
                    <a16:creationId xmlns:a16="http://schemas.microsoft.com/office/drawing/2014/main" id="{30F851BA-049A-441C-982A-6900C57B6BD4}"/>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7" name="Freeform: Shape 46">
                <a:extLst>
                  <a:ext uri="{FF2B5EF4-FFF2-40B4-BE49-F238E27FC236}">
                    <a16:creationId xmlns:a16="http://schemas.microsoft.com/office/drawing/2014/main" id="{D86A28F7-0977-46E9-B1B9-6696BAD29A5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8" name="Freeform: Shape 47">
                <a:extLst>
                  <a:ext uri="{FF2B5EF4-FFF2-40B4-BE49-F238E27FC236}">
                    <a16:creationId xmlns:a16="http://schemas.microsoft.com/office/drawing/2014/main" id="{3A3FE0EC-572C-4C99-96BE-1B1681C9AAD8}"/>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9" name="Freeform: Shape 48">
                <a:extLst>
                  <a:ext uri="{FF2B5EF4-FFF2-40B4-BE49-F238E27FC236}">
                    <a16:creationId xmlns:a16="http://schemas.microsoft.com/office/drawing/2014/main" id="{FAF65AEB-9DA1-44F0-8797-467209BD4C9D}"/>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50" name="Freeform: Shape 49">
                <a:extLst>
                  <a:ext uri="{FF2B5EF4-FFF2-40B4-BE49-F238E27FC236}">
                    <a16:creationId xmlns:a16="http://schemas.microsoft.com/office/drawing/2014/main" id="{A4C75597-3F68-4C25-9B47-94303EE0EEC0}"/>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51" name="Title 11">
            <a:extLst>
              <a:ext uri="{FF2B5EF4-FFF2-40B4-BE49-F238E27FC236}">
                <a16:creationId xmlns:a16="http://schemas.microsoft.com/office/drawing/2014/main" id="{B8C3E0AB-AF1A-43FD-8E84-04BF654A65C2}"/>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Лише заголовок</a:t>
            </a:r>
            <a:endParaRPr lang="en-US" dirty="0"/>
          </a:p>
        </p:txBody>
      </p:sp>
      <p:sp>
        <p:nvSpPr>
          <p:cNvPr id="28" name="Slide Number Placeholder 8">
            <a:extLst>
              <a:ext uri="{FF2B5EF4-FFF2-40B4-BE49-F238E27FC236}">
                <a16:creationId xmlns:a16="http://schemas.microsoft.com/office/drawing/2014/main" id="{2F54770E-BF76-48BB-BD95-9AEE27B6B55C}"/>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6674537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Таблиця">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0619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0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5E9A958E-B75E-4DEE-AB47-A06058B6CF55}"/>
              </a:ext>
            </a:extLst>
          </p:cNvPr>
          <p:cNvGrpSpPr/>
          <p:nvPr userDrawn="1"/>
        </p:nvGrpSpPr>
        <p:grpSpPr>
          <a:xfrm>
            <a:off x="0" y="209380"/>
            <a:ext cx="12192000" cy="900000"/>
            <a:chOff x="0" y="209380"/>
            <a:chExt cx="12192000" cy="900000"/>
          </a:xfrm>
        </p:grpSpPr>
        <p:sp>
          <p:nvSpPr>
            <p:cNvPr id="31" name="Freeform: Shape 30">
              <a:extLst>
                <a:ext uri="{FF2B5EF4-FFF2-40B4-BE49-F238E27FC236}">
                  <a16:creationId xmlns:a16="http://schemas.microsoft.com/office/drawing/2014/main" id="{3FB98819-33DA-4EC7-AECB-83E9AE483D52}"/>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32" name="Graphic 22">
              <a:extLst>
                <a:ext uri="{FF2B5EF4-FFF2-40B4-BE49-F238E27FC236}">
                  <a16:creationId xmlns:a16="http://schemas.microsoft.com/office/drawing/2014/main" id="{6FF4BA8A-ABC9-42F9-AA70-C73C89C4E357}"/>
                </a:ext>
              </a:extLst>
            </p:cNvPr>
            <p:cNvGrpSpPr/>
            <p:nvPr/>
          </p:nvGrpSpPr>
          <p:grpSpPr>
            <a:xfrm>
              <a:off x="10915649" y="368867"/>
              <a:ext cx="581025" cy="581025"/>
              <a:chOff x="11049699" y="311944"/>
              <a:chExt cx="446976" cy="446976"/>
            </a:xfrm>
          </p:grpSpPr>
          <p:sp>
            <p:nvSpPr>
              <p:cNvPr id="33" name="Freeform: Shape 32">
                <a:extLst>
                  <a:ext uri="{FF2B5EF4-FFF2-40B4-BE49-F238E27FC236}">
                    <a16:creationId xmlns:a16="http://schemas.microsoft.com/office/drawing/2014/main" id="{98F2B1BB-5EC5-4815-A77C-941F9412E70D}"/>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054C863D-707E-47C9-AA48-FF9B75ED5B1E}"/>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4124CA9B-27DB-4449-B9A6-46142F73C106}"/>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F479BBB7-863C-40E4-B9B8-9DC71B7CEA64}"/>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32E45C0A-B023-42D7-A620-91858EF67964}"/>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1C5E4408-C808-4486-8BE7-E7ECCE24D426}"/>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F3A0B900-D590-4002-B19F-C8150A1EC2A2}"/>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D3795880-81C7-4DF4-AC64-1C5EBD7A896C}"/>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DBDCEA77-4A1A-4038-BF8A-0F74DB801D95}"/>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E74A38E7-8AF4-494E-B275-8ABCB9DBF7D0}"/>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1FADF31D-7740-4424-9B25-FDDDC2735309}"/>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A5AE5E0B-090B-4CF9-8531-4CA4AAF62FFF}"/>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DAA459D2-88B6-4F5A-A6DF-1E151F1F3BC8}"/>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6" name="Freeform: Shape 45">
                <a:extLst>
                  <a:ext uri="{FF2B5EF4-FFF2-40B4-BE49-F238E27FC236}">
                    <a16:creationId xmlns:a16="http://schemas.microsoft.com/office/drawing/2014/main" id="{30F851BA-049A-441C-982A-6900C57B6BD4}"/>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7" name="Freeform: Shape 46">
                <a:extLst>
                  <a:ext uri="{FF2B5EF4-FFF2-40B4-BE49-F238E27FC236}">
                    <a16:creationId xmlns:a16="http://schemas.microsoft.com/office/drawing/2014/main" id="{D86A28F7-0977-46E9-B1B9-6696BAD29A5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8" name="Freeform: Shape 47">
                <a:extLst>
                  <a:ext uri="{FF2B5EF4-FFF2-40B4-BE49-F238E27FC236}">
                    <a16:creationId xmlns:a16="http://schemas.microsoft.com/office/drawing/2014/main" id="{3A3FE0EC-572C-4C99-96BE-1B1681C9AAD8}"/>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9" name="Freeform: Shape 48">
                <a:extLst>
                  <a:ext uri="{FF2B5EF4-FFF2-40B4-BE49-F238E27FC236}">
                    <a16:creationId xmlns:a16="http://schemas.microsoft.com/office/drawing/2014/main" id="{FAF65AEB-9DA1-44F0-8797-467209BD4C9D}"/>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50" name="Freeform: Shape 49">
                <a:extLst>
                  <a:ext uri="{FF2B5EF4-FFF2-40B4-BE49-F238E27FC236}">
                    <a16:creationId xmlns:a16="http://schemas.microsoft.com/office/drawing/2014/main" id="{A4C75597-3F68-4C25-9B47-94303EE0EEC0}"/>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51" name="Title 11">
            <a:extLst>
              <a:ext uri="{FF2B5EF4-FFF2-40B4-BE49-F238E27FC236}">
                <a16:creationId xmlns:a16="http://schemas.microsoft.com/office/drawing/2014/main" id="{B8C3E0AB-AF1A-43FD-8E84-04BF654A65C2}"/>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Таблиця</a:t>
            </a:r>
            <a:r>
              <a:rPr lang="en-US" dirty="0"/>
              <a:t> + </a:t>
            </a:r>
            <a:r>
              <a:rPr lang="uk-UA" dirty="0"/>
              <a:t>текст</a:t>
            </a:r>
            <a:endParaRPr lang="en-US" dirty="0"/>
          </a:p>
        </p:txBody>
      </p:sp>
      <p:sp>
        <p:nvSpPr>
          <p:cNvPr id="4" name="Table Placeholder 3">
            <a:extLst>
              <a:ext uri="{FF2B5EF4-FFF2-40B4-BE49-F238E27FC236}">
                <a16:creationId xmlns:a16="http://schemas.microsoft.com/office/drawing/2014/main" id="{A33D3B80-189B-4171-9E4E-A43DC1454360}"/>
              </a:ext>
            </a:extLst>
          </p:cNvPr>
          <p:cNvSpPr>
            <a:spLocks noGrp="1"/>
          </p:cNvSpPr>
          <p:nvPr>
            <p:ph type="tbl" sz="quarter" idx="10"/>
          </p:nvPr>
        </p:nvSpPr>
        <p:spPr>
          <a:xfrm>
            <a:off x="695326" y="1397000"/>
            <a:ext cx="10801349" cy="4878388"/>
          </a:xfrm>
        </p:spPr>
        <p:txBody>
          <a:bodyPr/>
          <a:lstStyle/>
          <a:p>
            <a:endParaRPr lang="uk-UA" dirty="0"/>
          </a:p>
        </p:txBody>
      </p:sp>
      <p:sp>
        <p:nvSpPr>
          <p:cNvPr id="29" name="Slide Number Placeholder 8">
            <a:extLst>
              <a:ext uri="{FF2B5EF4-FFF2-40B4-BE49-F238E27FC236}">
                <a16:creationId xmlns:a16="http://schemas.microsoft.com/office/drawing/2014/main" id="{0E39F59E-2708-4AE4-9E64-E8239C26DEBD}"/>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165777625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Таблиця + текст">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57301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9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5E9A958E-B75E-4DEE-AB47-A06058B6CF55}"/>
              </a:ext>
            </a:extLst>
          </p:cNvPr>
          <p:cNvGrpSpPr/>
          <p:nvPr userDrawn="1"/>
        </p:nvGrpSpPr>
        <p:grpSpPr>
          <a:xfrm>
            <a:off x="0" y="209380"/>
            <a:ext cx="12192000" cy="900000"/>
            <a:chOff x="0" y="209380"/>
            <a:chExt cx="12192000" cy="900000"/>
          </a:xfrm>
        </p:grpSpPr>
        <p:sp>
          <p:nvSpPr>
            <p:cNvPr id="31" name="Freeform: Shape 30">
              <a:extLst>
                <a:ext uri="{FF2B5EF4-FFF2-40B4-BE49-F238E27FC236}">
                  <a16:creationId xmlns:a16="http://schemas.microsoft.com/office/drawing/2014/main" id="{3FB98819-33DA-4EC7-AECB-83E9AE483D52}"/>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32" name="Graphic 22">
              <a:extLst>
                <a:ext uri="{FF2B5EF4-FFF2-40B4-BE49-F238E27FC236}">
                  <a16:creationId xmlns:a16="http://schemas.microsoft.com/office/drawing/2014/main" id="{6FF4BA8A-ABC9-42F9-AA70-C73C89C4E357}"/>
                </a:ext>
              </a:extLst>
            </p:cNvPr>
            <p:cNvGrpSpPr/>
            <p:nvPr/>
          </p:nvGrpSpPr>
          <p:grpSpPr>
            <a:xfrm>
              <a:off x="10915649" y="368867"/>
              <a:ext cx="581025" cy="581025"/>
              <a:chOff x="11049699" y="311944"/>
              <a:chExt cx="446976" cy="446976"/>
            </a:xfrm>
          </p:grpSpPr>
          <p:sp>
            <p:nvSpPr>
              <p:cNvPr id="33" name="Freeform: Shape 32">
                <a:extLst>
                  <a:ext uri="{FF2B5EF4-FFF2-40B4-BE49-F238E27FC236}">
                    <a16:creationId xmlns:a16="http://schemas.microsoft.com/office/drawing/2014/main" id="{98F2B1BB-5EC5-4815-A77C-941F9412E70D}"/>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054C863D-707E-47C9-AA48-FF9B75ED5B1E}"/>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4124CA9B-27DB-4449-B9A6-46142F73C106}"/>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F479BBB7-863C-40E4-B9B8-9DC71B7CEA64}"/>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32E45C0A-B023-42D7-A620-91858EF67964}"/>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1C5E4408-C808-4486-8BE7-E7ECCE24D426}"/>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F3A0B900-D590-4002-B19F-C8150A1EC2A2}"/>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D3795880-81C7-4DF4-AC64-1C5EBD7A896C}"/>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DBDCEA77-4A1A-4038-BF8A-0F74DB801D95}"/>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E74A38E7-8AF4-494E-B275-8ABCB9DBF7D0}"/>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1FADF31D-7740-4424-9B25-FDDDC2735309}"/>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A5AE5E0B-090B-4CF9-8531-4CA4AAF62FFF}"/>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DAA459D2-88B6-4F5A-A6DF-1E151F1F3BC8}"/>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6" name="Freeform: Shape 45">
                <a:extLst>
                  <a:ext uri="{FF2B5EF4-FFF2-40B4-BE49-F238E27FC236}">
                    <a16:creationId xmlns:a16="http://schemas.microsoft.com/office/drawing/2014/main" id="{30F851BA-049A-441C-982A-6900C57B6BD4}"/>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7" name="Freeform: Shape 46">
                <a:extLst>
                  <a:ext uri="{FF2B5EF4-FFF2-40B4-BE49-F238E27FC236}">
                    <a16:creationId xmlns:a16="http://schemas.microsoft.com/office/drawing/2014/main" id="{D86A28F7-0977-46E9-B1B9-6696BAD29A5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8" name="Freeform: Shape 47">
                <a:extLst>
                  <a:ext uri="{FF2B5EF4-FFF2-40B4-BE49-F238E27FC236}">
                    <a16:creationId xmlns:a16="http://schemas.microsoft.com/office/drawing/2014/main" id="{3A3FE0EC-572C-4C99-96BE-1B1681C9AAD8}"/>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9" name="Freeform: Shape 48">
                <a:extLst>
                  <a:ext uri="{FF2B5EF4-FFF2-40B4-BE49-F238E27FC236}">
                    <a16:creationId xmlns:a16="http://schemas.microsoft.com/office/drawing/2014/main" id="{FAF65AEB-9DA1-44F0-8797-467209BD4C9D}"/>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50" name="Freeform: Shape 49">
                <a:extLst>
                  <a:ext uri="{FF2B5EF4-FFF2-40B4-BE49-F238E27FC236}">
                    <a16:creationId xmlns:a16="http://schemas.microsoft.com/office/drawing/2014/main" id="{A4C75597-3F68-4C25-9B47-94303EE0EEC0}"/>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51" name="Title 11">
            <a:extLst>
              <a:ext uri="{FF2B5EF4-FFF2-40B4-BE49-F238E27FC236}">
                <a16:creationId xmlns:a16="http://schemas.microsoft.com/office/drawing/2014/main" id="{B8C3E0AB-AF1A-43FD-8E84-04BF654A65C2}"/>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Таблиця</a:t>
            </a:r>
            <a:r>
              <a:rPr lang="en-US" dirty="0"/>
              <a:t> + </a:t>
            </a:r>
            <a:r>
              <a:rPr lang="uk-UA" dirty="0"/>
              <a:t>текст</a:t>
            </a:r>
            <a:endParaRPr lang="en-US" dirty="0"/>
          </a:p>
        </p:txBody>
      </p:sp>
      <p:sp>
        <p:nvSpPr>
          <p:cNvPr id="4" name="Table Placeholder 3">
            <a:extLst>
              <a:ext uri="{FF2B5EF4-FFF2-40B4-BE49-F238E27FC236}">
                <a16:creationId xmlns:a16="http://schemas.microsoft.com/office/drawing/2014/main" id="{A33D3B80-189B-4171-9E4E-A43DC1454360}"/>
              </a:ext>
            </a:extLst>
          </p:cNvPr>
          <p:cNvSpPr>
            <a:spLocks noGrp="1"/>
          </p:cNvSpPr>
          <p:nvPr>
            <p:ph type="tbl" sz="quarter" idx="10"/>
          </p:nvPr>
        </p:nvSpPr>
        <p:spPr>
          <a:xfrm>
            <a:off x="695326" y="1397000"/>
            <a:ext cx="6324599" cy="4878388"/>
          </a:xfrm>
        </p:spPr>
        <p:txBody>
          <a:bodyPr/>
          <a:lstStyle/>
          <a:p>
            <a:endParaRPr lang="uk-UA" dirty="0"/>
          </a:p>
        </p:txBody>
      </p:sp>
      <p:sp>
        <p:nvSpPr>
          <p:cNvPr id="28" name="Text Placeholder 3">
            <a:extLst>
              <a:ext uri="{FF2B5EF4-FFF2-40B4-BE49-F238E27FC236}">
                <a16:creationId xmlns:a16="http://schemas.microsoft.com/office/drawing/2014/main" id="{77B78051-8E4C-459D-B3DC-5A18AF5C2A6A}"/>
              </a:ext>
            </a:extLst>
          </p:cNvPr>
          <p:cNvSpPr>
            <a:spLocks noGrp="1"/>
          </p:cNvSpPr>
          <p:nvPr>
            <p:ph type="body" sz="quarter" idx="11" hasCustomPrompt="1"/>
          </p:nvPr>
        </p:nvSpPr>
        <p:spPr>
          <a:xfrm>
            <a:off x="7285437" y="1397000"/>
            <a:ext cx="4210504" cy="4878388"/>
          </a:xfrm>
        </p:spPr>
        <p:txBody>
          <a:bodyPr/>
          <a:lstStyle>
            <a:lvl1pPr marL="0" indent="0">
              <a:spcAft>
                <a:spcPts val="900"/>
              </a:spcAft>
              <a:buFont typeface="Arial" panose="020B0604020202020204" pitchFamily="34" charset="0"/>
              <a:buNone/>
              <a:defRPr sz="1600">
                <a:latin typeface="+mn-lt"/>
              </a:defRPr>
            </a:lvl1pPr>
            <a:lvl2pPr marL="204788" indent="-204788">
              <a:buClr>
                <a:schemeClr val="accent2"/>
              </a:buClr>
              <a:defRPr sz="1600">
                <a:latin typeface="+mn-lt"/>
              </a:defRPr>
            </a:lvl2pPr>
            <a:lvl3pPr marL="204788" indent="-204788">
              <a:buClr>
                <a:schemeClr val="accent2"/>
              </a:buClr>
              <a:buFont typeface="Arial" panose="020B0604020202020204" pitchFamily="34" charset="0"/>
              <a:buChar char="•"/>
              <a:defRPr sz="1600">
                <a:latin typeface="+mn-lt"/>
              </a:defRPr>
            </a:lvl3pPr>
            <a:lvl4pPr marL="204788" indent="-204788">
              <a:buClr>
                <a:schemeClr val="accent2"/>
              </a:buClr>
              <a:defRPr sz="1600">
                <a:latin typeface="+mn-lt"/>
              </a:defRPr>
            </a:lvl4pPr>
            <a:lvl5pPr marL="204788" indent="-204788">
              <a:defRPr sz="1600">
                <a:latin typeface="+mn-lt"/>
              </a:defRPr>
            </a:lvl5pPr>
          </a:lstStyle>
          <a:p>
            <a:r>
              <a:rPr lang="uk-UA" dirty="0"/>
              <a:t>Текст до таблиці.</a:t>
            </a:r>
            <a:r>
              <a:rPr lang="en-US" dirty="0"/>
              <a:t/>
            </a:r>
            <a:br>
              <a:rPr lang="en-US" dirty="0"/>
            </a:br>
            <a:r>
              <a:rPr lang="en-US" dirty="0"/>
              <a:t>e-Ukraine </a:t>
            </a:r>
            <a:r>
              <a:rPr lang="en-US" dirty="0" err="1"/>
              <a:t>UltraLight</a:t>
            </a:r>
            <a:r>
              <a:rPr lang="en-US" dirty="0"/>
              <a:t> 16 pt.</a:t>
            </a:r>
            <a:endParaRPr lang="uk-UA" dirty="0"/>
          </a:p>
        </p:txBody>
      </p:sp>
      <p:sp>
        <p:nvSpPr>
          <p:cNvPr id="53" name="Slide Number Placeholder 8">
            <a:extLst>
              <a:ext uri="{FF2B5EF4-FFF2-40B4-BE49-F238E27FC236}">
                <a16:creationId xmlns:a16="http://schemas.microsoft.com/office/drawing/2014/main" id="{2C5B65B2-A847-4EC8-BB46-DB085899BE92}"/>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8849594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Мапа Європи">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88397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6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9E5AD16-53CB-446E-82D2-81C7A13C26BB}"/>
              </a:ext>
            </a:extLst>
          </p:cNvPr>
          <p:cNvSpPr>
            <a:spLocks noGrp="1"/>
          </p:cNvSpPr>
          <p:nvPr>
            <p:ph type="body" sz="quarter" idx="10" hasCustomPrompt="1"/>
          </p:nvPr>
        </p:nvSpPr>
        <p:spPr>
          <a:xfrm>
            <a:off x="695325" y="1397000"/>
            <a:ext cx="4210504" cy="4878388"/>
          </a:xfrm>
        </p:spPr>
        <p:txBody>
          <a:bodyPr/>
          <a:lstStyle>
            <a:lvl1pPr marL="0" indent="0">
              <a:spcAft>
                <a:spcPts val="900"/>
              </a:spcAft>
              <a:buFont typeface="Arial" panose="020B0604020202020204" pitchFamily="34" charset="0"/>
              <a:buNone/>
              <a:defRPr sz="1600">
                <a:latin typeface="+mn-lt"/>
              </a:defRPr>
            </a:lvl1pPr>
            <a:lvl2pPr marL="204788" indent="-204788">
              <a:buClr>
                <a:schemeClr val="accent2"/>
              </a:buClr>
              <a:defRPr sz="1600">
                <a:latin typeface="+mn-lt"/>
              </a:defRPr>
            </a:lvl2pPr>
            <a:lvl3pPr marL="204788" indent="-204788">
              <a:buClr>
                <a:schemeClr val="accent2"/>
              </a:buClr>
              <a:buFont typeface="Arial" panose="020B0604020202020204" pitchFamily="34" charset="0"/>
              <a:buChar char="•"/>
              <a:defRPr sz="1600">
                <a:latin typeface="+mn-lt"/>
              </a:defRPr>
            </a:lvl3pPr>
            <a:lvl4pPr marL="204788" indent="-204788">
              <a:buClr>
                <a:schemeClr val="accent2"/>
              </a:buClr>
              <a:defRPr sz="1600">
                <a:latin typeface="+mn-lt"/>
              </a:defRPr>
            </a:lvl4pPr>
            <a:lvl5pPr marL="204788" indent="-204788">
              <a:defRPr sz="1600">
                <a:latin typeface="+mn-lt"/>
              </a:defRPr>
            </a:lvl5pPr>
          </a:lstStyle>
          <a:p>
            <a:r>
              <a:rPr lang="uk-UA" dirty="0"/>
              <a:t>Текст до мапи.</a:t>
            </a:r>
            <a:r>
              <a:rPr lang="en-US" dirty="0"/>
              <a:t/>
            </a:r>
            <a:br>
              <a:rPr lang="en-US" dirty="0"/>
            </a:br>
            <a:r>
              <a:rPr lang="en-US" dirty="0"/>
              <a:t>e-Ukraine </a:t>
            </a:r>
            <a:r>
              <a:rPr lang="en-US" dirty="0" err="1"/>
              <a:t>UltraLight</a:t>
            </a:r>
            <a:r>
              <a:rPr lang="en-US" dirty="0"/>
              <a:t> 16 pt.</a:t>
            </a:r>
            <a:endParaRPr lang="uk-UA" dirty="0"/>
          </a:p>
        </p:txBody>
      </p:sp>
      <p:grpSp>
        <p:nvGrpSpPr>
          <p:cNvPr id="9" name="Group 8">
            <a:extLst>
              <a:ext uri="{FF2B5EF4-FFF2-40B4-BE49-F238E27FC236}">
                <a16:creationId xmlns:a16="http://schemas.microsoft.com/office/drawing/2014/main" id="{7DA23A2F-C58D-4044-B003-351AD6A2CED3}"/>
              </a:ext>
            </a:extLst>
          </p:cNvPr>
          <p:cNvGrpSpPr/>
          <p:nvPr userDrawn="1"/>
        </p:nvGrpSpPr>
        <p:grpSpPr>
          <a:xfrm>
            <a:off x="0" y="209380"/>
            <a:ext cx="12192000" cy="900000"/>
            <a:chOff x="0" y="209380"/>
            <a:chExt cx="12192000" cy="900000"/>
          </a:xfrm>
        </p:grpSpPr>
        <p:sp>
          <p:nvSpPr>
            <p:cNvPr id="10" name="Freeform: Shape 9">
              <a:extLst>
                <a:ext uri="{FF2B5EF4-FFF2-40B4-BE49-F238E27FC236}">
                  <a16:creationId xmlns:a16="http://schemas.microsoft.com/office/drawing/2014/main" id="{64B65498-9B67-4379-A180-99D2A247C02F}"/>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11" name="Graphic 22">
              <a:extLst>
                <a:ext uri="{FF2B5EF4-FFF2-40B4-BE49-F238E27FC236}">
                  <a16:creationId xmlns:a16="http://schemas.microsoft.com/office/drawing/2014/main" id="{1AA8221B-72B9-4428-8900-E6E72FA5E709}"/>
                </a:ext>
              </a:extLst>
            </p:cNvPr>
            <p:cNvGrpSpPr/>
            <p:nvPr/>
          </p:nvGrpSpPr>
          <p:grpSpPr>
            <a:xfrm>
              <a:off x="10915649" y="368867"/>
              <a:ext cx="581025" cy="581025"/>
              <a:chOff x="11049699" y="311944"/>
              <a:chExt cx="446976" cy="446976"/>
            </a:xfrm>
          </p:grpSpPr>
          <p:sp>
            <p:nvSpPr>
              <p:cNvPr id="12" name="Freeform: Shape 11">
                <a:extLst>
                  <a:ext uri="{FF2B5EF4-FFF2-40B4-BE49-F238E27FC236}">
                    <a16:creationId xmlns:a16="http://schemas.microsoft.com/office/drawing/2014/main" id="{FF9D46F4-A0D3-4BD0-B512-98F3875F37A1}"/>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3" name="Freeform: Shape 12">
                <a:extLst>
                  <a:ext uri="{FF2B5EF4-FFF2-40B4-BE49-F238E27FC236}">
                    <a16:creationId xmlns:a16="http://schemas.microsoft.com/office/drawing/2014/main" id="{6591023B-2E03-4F63-8395-D35AD66089D5}"/>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4" name="Freeform: Shape 13">
                <a:extLst>
                  <a:ext uri="{FF2B5EF4-FFF2-40B4-BE49-F238E27FC236}">
                    <a16:creationId xmlns:a16="http://schemas.microsoft.com/office/drawing/2014/main" id="{3CB5EB27-4BD7-4E93-BC5D-24492A6068F9}"/>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3B3701B9-ABBE-4824-A6C9-FC4118A65EC4}"/>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2D775468-F0F3-46EE-8680-E0B5F7D6501B}"/>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926944F1-FE82-4272-BB8C-2BA6C712F401}"/>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18" name="Freeform: Shape 17">
                <a:extLst>
                  <a:ext uri="{FF2B5EF4-FFF2-40B4-BE49-F238E27FC236}">
                    <a16:creationId xmlns:a16="http://schemas.microsoft.com/office/drawing/2014/main" id="{2C6BE92A-6E4A-4528-A197-15B00A7039FE}"/>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19" name="Freeform: Shape 18">
                <a:extLst>
                  <a:ext uri="{FF2B5EF4-FFF2-40B4-BE49-F238E27FC236}">
                    <a16:creationId xmlns:a16="http://schemas.microsoft.com/office/drawing/2014/main" id="{C8230B04-E850-4FF4-A04F-49098DAE4D27}"/>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0" name="Freeform: Shape 19">
                <a:extLst>
                  <a:ext uri="{FF2B5EF4-FFF2-40B4-BE49-F238E27FC236}">
                    <a16:creationId xmlns:a16="http://schemas.microsoft.com/office/drawing/2014/main" id="{89DA2CB9-F19E-4E3A-BA97-99E21A442A5F}"/>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33260043-D328-4876-8C54-DA16AB4A68E5}"/>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943D4811-95DF-409E-9551-ABB0E0B1F9CF}"/>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F7F5F787-C15A-4794-AE8C-4E920C293A47}"/>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E1269C7-F655-4A44-B1EC-445913467654}"/>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936ED49C-F8EF-43BD-9AF6-7F77F1A97701}"/>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2E164647-66AF-4F57-8161-C6F7A972C63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7452D1DF-998D-4588-BCF7-3D0A769D30B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308CD048-894C-48E5-8B06-40AFFB27B2E9}"/>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5346E1B7-A821-45AE-8C01-6F910A8F6CA7}"/>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30" name="Title 11">
            <a:extLst>
              <a:ext uri="{FF2B5EF4-FFF2-40B4-BE49-F238E27FC236}">
                <a16:creationId xmlns:a16="http://schemas.microsoft.com/office/drawing/2014/main" id="{E628C4F6-87D8-411C-AB14-7D16898E49FB}"/>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Мапа Європи</a:t>
            </a:r>
            <a:endParaRPr lang="en-US" dirty="0"/>
          </a:p>
        </p:txBody>
      </p:sp>
      <p:sp>
        <p:nvSpPr>
          <p:cNvPr id="33" name="Slide Number Placeholder 8">
            <a:extLst>
              <a:ext uri="{FF2B5EF4-FFF2-40B4-BE49-F238E27FC236}">
                <a16:creationId xmlns:a16="http://schemas.microsoft.com/office/drawing/2014/main" id="{98102978-7D23-4504-9B49-8F2E79FEE56C}"/>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212255932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Yellow">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8F3E675-B7DF-4D61-8297-A381698576A6}"/>
              </a:ext>
            </a:extLst>
          </p:cNvPr>
          <p:cNvSpPr/>
          <p:nvPr userDrawn="1"/>
        </p:nvSpPr>
        <p:spPr bwMode="ltGray">
          <a:xfrm>
            <a:off x="0" y="0"/>
            <a:ext cx="12192000" cy="6858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2" charset="-52"/>
            </a:endParaRPr>
          </a:p>
        </p:txBody>
      </p:sp>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7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itle 11">
            <a:extLst>
              <a:ext uri="{FF2B5EF4-FFF2-40B4-BE49-F238E27FC236}">
                <a16:creationId xmlns:a16="http://schemas.microsoft.com/office/drawing/2014/main" id="{90E64F1C-7F00-496C-8DA7-3ECE5A998413}"/>
              </a:ext>
            </a:extLst>
          </p:cNvPr>
          <p:cNvSpPr>
            <a:spLocks noGrp="1"/>
          </p:cNvSpPr>
          <p:nvPr>
            <p:ph type="title" hasCustomPrompt="1"/>
          </p:nvPr>
        </p:nvSpPr>
        <p:spPr>
          <a:xfrm>
            <a:off x="609601" y="331587"/>
            <a:ext cx="8445500" cy="601743"/>
          </a:xfrm>
        </p:spPr>
        <p:txBody>
          <a:bodyPr anchor="ctr"/>
          <a:lstStyle>
            <a:lvl1pPr algn="l">
              <a:defRPr sz="3000">
                <a:latin typeface="+mj-lt"/>
              </a:defRPr>
            </a:lvl1pPr>
          </a:lstStyle>
          <a:p>
            <a:r>
              <a:rPr lang="uk-UA" dirty="0"/>
              <a:t>Золотаве тло</a:t>
            </a:r>
            <a:endParaRPr lang="en-US" dirty="0"/>
          </a:p>
        </p:txBody>
      </p:sp>
      <p:grpSp>
        <p:nvGrpSpPr>
          <p:cNvPr id="9" name="Graphic 22">
            <a:extLst>
              <a:ext uri="{FF2B5EF4-FFF2-40B4-BE49-F238E27FC236}">
                <a16:creationId xmlns:a16="http://schemas.microsoft.com/office/drawing/2014/main" id="{98E072AA-7F25-41E5-85A8-B2CA9A983086}"/>
              </a:ext>
            </a:extLst>
          </p:cNvPr>
          <p:cNvGrpSpPr/>
          <p:nvPr/>
        </p:nvGrpSpPr>
        <p:grpSpPr>
          <a:xfrm>
            <a:off x="10915649" y="368867"/>
            <a:ext cx="581025" cy="581025"/>
            <a:chOff x="11049699" y="311944"/>
            <a:chExt cx="446976" cy="446976"/>
          </a:xfrm>
          <a:solidFill>
            <a:schemeClr val="bg1"/>
          </a:solidFill>
        </p:grpSpPr>
        <p:sp>
          <p:nvSpPr>
            <p:cNvPr id="10" name="Freeform: Shape 9">
              <a:extLst>
                <a:ext uri="{FF2B5EF4-FFF2-40B4-BE49-F238E27FC236}">
                  <a16:creationId xmlns:a16="http://schemas.microsoft.com/office/drawing/2014/main" id="{582E7E75-432E-4ABD-B951-F5F34923D63A}"/>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grpFill/>
            <a:ln w="1441" cap="flat">
              <a:noFill/>
              <a:prstDash val="solid"/>
              <a:miter/>
            </a:ln>
          </p:spPr>
          <p:txBody>
            <a:bodyPr rtlCol="0" anchor="ctr"/>
            <a:lstStyle/>
            <a:p>
              <a:endParaRPr lang="uk-UA"/>
            </a:p>
          </p:txBody>
        </p:sp>
        <p:sp>
          <p:nvSpPr>
            <p:cNvPr id="11" name="Freeform: Shape 10">
              <a:extLst>
                <a:ext uri="{FF2B5EF4-FFF2-40B4-BE49-F238E27FC236}">
                  <a16:creationId xmlns:a16="http://schemas.microsoft.com/office/drawing/2014/main" id="{F575455A-CE2E-4FB1-A579-D03E9388AC52}"/>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grpFill/>
            <a:ln w="1441" cap="flat">
              <a:noFill/>
              <a:prstDash val="solid"/>
              <a:miter/>
            </a:ln>
          </p:spPr>
          <p:txBody>
            <a:bodyPr rtlCol="0" anchor="ctr"/>
            <a:lstStyle/>
            <a:p>
              <a:endParaRPr lang="uk-UA"/>
            </a:p>
          </p:txBody>
        </p:sp>
        <p:sp>
          <p:nvSpPr>
            <p:cNvPr id="12" name="Freeform: Shape 11">
              <a:extLst>
                <a:ext uri="{FF2B5EF4-FFF2-40B4-BE49-F238E27FC236}">
                  <a16:creationId xmlns:a16="http://schemas.microsoft.com/office/drawing/2014/main" id="{15EB17A4-8340-48F8-B736-26AF227E6B37}"/>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grpFill/>
            <a:ln w="1441" cap="flat">
              <a:noFill/>
              <a:prstDash val="solid"/>
              <a:miter/>
            </a:ln>
          </p:spPr>
          <p:txBody>
            <a:bodyPr rtlCol="0" anchor="ctr"/>
            <a:lstStyle/>
            <a:p>
              <a:endParaRPr lang="uk-UA"/>
            </a:p>
          </p:txBody>
        </p:sp>
        <p:sp>
          <p:nvSpPr>
            <p:cNvPr id="13" name="Freeform: Shape 12">
              <a:extLst>
                <a:ext uri="{FF2B5EF4-FFF2-40B4-BE49-F238E27FC236}">
                  <a16:creationId xmlns:a16="http://schemas.microsoft.com/office/drawing/2014/main" id="{9822CEA8-CA0D-47F1-872C-09FA95BE786C}"/>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grpFill/>
            <a:ln w="1441" cap="flat">
              <a:noFill/>
              <a:prstDash val="solid"/>
              <a:miter/>
            </a:ln>
          </p:spPr>
          <p:txBody>
            <a:bodyPr rtlCol="0" anchor="ctr"/>
            <a:lstStyle/>
            <a:p>
              <a:endParaRPr lang="uk-UA"/>
            </a:p>
          </p:txBody>
        </p:sp>
        <p:sp>
          <p:nvSpPr>
            <p:cNvPr id="14" name="Freeform: Shape 13">
              <a:extLst>
                <a:ext uri="{FF2B5EF4-FFF2-40B4-BE49-F238E27FC236}">
                  <a16:creationId xmlns:a16="http://schemas.microsoft.com/office/drawing/2014/main" id="{1F2022C6-950E-4330-B234-62733148867D}"/>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grpFill/>
            <a:ln w="1441"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F0F4324C-519A-40A6-A9EC-B4524DE3484C}"/>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grpFill/>
            <a:ln w="1441"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47716EBA-B909-4C5D-96F3-FB197C130F5C}"/>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grpFill/>
            <a:ln w="1441"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450674B0-D4CD-4501-96F6-3BC3E99C0874}"/>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grpFill/>
            <a:ln w="1441" cap="flat">
              <a:noFill/>
              <a:prstDash val="solid"/>
              <a:miter/>
            </a:ln>
          </p:spPr>
          <p:txBody>
            <a:bodyPr rtlCol="0" anchor="ctr"/>
            <a:lstStyle/>
            <a:p>
              <a:endParaRPr lang="uk-UA"/>
            </a:p>
          </p:txBody>
        </p:sp>
        <p:sp>
          <p:nvSpPr>
            <p:cNvPr id="18" name="Freeform: Shape 17">
              <a:extLst>
                <a:ext uri="{FF2B5EF4-FFF2-40B4-BE49-F238E27FC236}">
                  <a16:creationId xmlns:a16="http://schemas.microsoft.com/office/drawing/2014/main" id="{14EA563B-2844-4518-9701-123E1309CEDD}"/>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grpFill/>
            <a:ln w="1441" cap="flat">
              <a:noFill/>
              <a:prstDash val="solid"/>
              <a:miter/>
            </a:ln>
          </p:spPr>
          <p:txBody>
            <a:bodyPr rtlCol="0" anchor="ctr"/>
            <a:lstStyle/>
            <a:p>
              <a:endParaRPr lang="uk-UA"/>
            </a:p>
          </p:txBody>
        </p:sp>
        <p:sp>
          <p:nvSpPr>
            <p:cNvPr id="19" name="Freeform: Shape 18">
              <a:extLst>
                <a:ext uri="{FF2B5EF4-FFF2-40B4-BE49-F238E27FC236}">
                  <a16:creationId xmlns:a16="http://schemas.microsoft.com/office/drawing/2014/main" id="{AE235227-80AA-4BD4-904D-814CC135CF3D}"/>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grpFill/>
            <a:ln w="1441" cap="flat">
              <a:noFill/>
              <a:prstDash val="solid"/>
              <a:miter/>
            </a:ln>
          </p:spPr>
          <p:txBody>
            <a:bodyPr rtlCol="0" anchor="ctr"/>
            <a:lstStyle/>
            <a:p>
              <a:endParaRPr lang="uk-UA"/>
            </a:p>
          </p:txBody>
        </p:sp>
        <p:sp>
          <p:nvSpPr>
            <p:cNvPr id="20" name="Freeform: Shape 19">
              <a:extLst>
                <a:ext uri="{FF2B5EF4-FFF2-40B4-BE49-F238E27FC236}">
                  <a16:creationId xmlns:a16="http://schemas.microsoft.com/office/drawing/2014/main" id="{B97327FD-96D5-4ABF-8CEC-DA5AEB3F9487}"/>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grpFill/>
            <a:ln w="1441"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9AABC0E3-7A2B-4AB7-9649-B7333259B859}"/>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grpFill/>
            <a:ln w="1441"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2D1B5261-EB3F-467B-AD46-700F58798E48}"/>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grp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06085D97-0A02-43A2-844E-A91371A39E08}"/>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grp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64B742B7-3744-461A-8628-FF66341488A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grp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0E03FE81-4EC9-4F54-9845-744772EB3220}"/>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grp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EBD9B0F1-940F-4744-B1FF-0909CD464849}"/>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grp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B1B7EE16-1019-4114-9FBB-09E233FE95C2}"/>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grpFill/>
            <a:ln w="1441" cap="flat">
              <a:noFill/>
              <a:prstDash val="solid"/>
              <a:miter/>
            </a:ln>
          </p:spPr>
          <p:txBody>
            <a:bodyPr rtlCol="0" anchor="ctr"/>
            <a:lstStyle/>
            <a:p>
              <a:endParaRPr lang="uk-UA"/>
            </a:p>
          </p:txBody>
        </p:sp>
      </p:grpSp>
      <p:sp>
        <p:nvSpPr>
          <p:cNvPr id="28" name="Slide Number Placeholder 8">
            <a:extLst>
              <a:ext uri="{FF2B5EF4-FFF2-40B4-BE49-F238E27FC236}">
                <a16:creationId xmlns:a16="http://schemas.microsoft.com/office/drawing/2014/main" id="{88F85F7F-888D-4611-98B9-6CB3F20E14F6}"/>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21024457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Фінальний слайд">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535CF5-81EB-43C4-AAE6-4169C89487FB}"/>
              </a:ext>
            </a:extLst>
          </p:cNvPr>
          <p:cNvSpPr/>
          <p:nvPr userDrawn="1"/>
        </p:nvSpPr>
        <p:spPr bwMode="ltGray">
          <a:xfrm>
            <a:off x="0" y="0"/>
            <a:ext cx="12192000" cy="6858000"/>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2" charset="-52"/>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5813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2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7B535431-B9A7-42FB-94A6-E406C0666A23}"/>
              </a:ext>
            </a:extLst>
          </p:cNvPr>
          <p:cNvSpPr txBox="1"/>
          <p:nvPr userDrawn="1"/>
        </p:nvSpPr>
        <p:spPr>
          <a:xfrm>
            <a:off x="747713" y="3411429"/>
            <a:ext cx="10335261" cy="1357745"/>
          </a:xfrm>
          <a:prstGeom prst="rect">
            <a:avLst/>
          </a:prstGeom>
          <a:noFill/>
        </p:spPr>
        <p:txBody>
          <a:bodyPr wrap="square" lIns="0" tIns="0" rIns="0" bIns="0" rtlCol="0">
            <a:noAutofit/>
          </a:bodyPr>
          <a:lstStyle/>
          <a:p>
            <a:pPr indent="-274320">
              <a:spcAft>
                <a:spcPts val="900"/>
              </a:spcAft>
            </a:pPr>
            <a:endParaRPr lang="en-US" sz="8000" dirty="0">
              <a:latin typeface="e-Ukraine UltraLight" panose="00000900000000000000" pitchFamily="2" charset="0"/>
            </a:endParaRPr>
          </a:p>
        </p:txBody>
      </p:sp>
      <p:sp>
        <p:nvSpPr>
          <p:cNvPr id="14" name="Graphic 8">
            <a:extLst>
              <a:ext uri="{FF2B5EF4-FFF2-40B4-BE49-F238E27FC236}">
                <a16:creationId xmlns:a16="http://schemas.microsoft.com/office/drawing/2014/main" id="{2A65FEFC-3936-45F5-AFA6-A279340A567B}"/>
              </a:ext>
            </a:extLst>
          </p:cNvPr>
          <p:cNvSpPr/>
          <p:nvPr userDrawn="1"/>
        </p:nvSpPr>
        <p:spPr>
          <a:xfrm>
            <a:off x="1733022" y="-593147"/>
            <a:ext cx="1959859" cy="2873054"/>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solidFill>
            <a:schemeClr val="accent1"/>
          </a:solidFill>
          <a:ln w="8381" cap="flat">
            <a:noFill/>
            <a:prstDash val="solid"/>
            <a:miter/>
          </a:ln>
        </p:spPr>
        <p:txBody>
          <a:bodyPr rtlCol="0" anchor="ctr"/>
          <a:lstStyle/>
          <a:p>
            <a:endParaRPr lang="uk-UA" dirty="0"/>
          </a:p>
        </p:txBody>
      </p:sp>
      <p:sp>
        <p:nvSpPr>
          <p:cNvPr id="24" name="Rectangle 23">
            <a:extLst>
              <a:ext uri="{FF2B5EF4-FFF2-40B4-BE49-F238E27FC236}">
                <a16:creationId xmlns:a16="http://schemas.microsoft.com/office/drawing/2014/main" id="{5DE45C79-ACC8-49EB-B030-DEED80788FB5}"/>
              </a:ext>
            </a:extLst>
          </p:cNvPr>
          <p:cNvSpPr/>
          <p:nvPr userDrawn="1"/>
        </p:nvSpPr>
        <p:spPr bwMode="ltGray">
          <a:xfrm>
            <a:off x="696000" y="675000"/>
            <a:ext cx="10800000" cy="55080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2" charset="-52"/>
            </a:endParaRPr>
          </a:p>
        </p:txBody>
      </p:sp>
      <p:sp>
        <p:nvSpPr>
          <p:cNvPr id="25" name="Graphic 20">
            <a:extLst>
              <a:ext uri="{FF2B5EF4-FFF2-40B4-BE49-F238E27FC236}">
                <a16:creationId xmlns:a16="http://schemas.microsoft.com/office/drawing/2014/main" id="{D6319FDD-45AF-45E5-B73A-5F51E1620A5C}"/>
              </a:ext>
            </a:extLst>
          </p:cNvPr>
          <p:cNvSpPr/>
          <p:nvPr userDrawn="1"/>
        </p:nvSpPr>
        <p:spPr>
          <a:xfrm>
            <a:off x="-1247775" y="4918868"/>
            <a:ext cx="2495550" cy="2781300"/>
          </a:xfrm>
          <a:custGeom>
            <a:avLst/>
            <a:gdLst>
              <a:gd name="connsiteX0" fmla="*/ 7144 w 2495550"/>
              <a:gd name="connsiteY0" fmla="*/ 2490216 h 2781300"/>
              <a:gd name="connsiteX1" fmla="*/ 7144 w 2495550"/>
              <a:gd name="connsiteY1" fmla="*/ 2780348 h 2781300"/>
              <a:gd name="connsiteX2" fmla="*/ 2494598 w 2495550"/>
              <a:gd name="connsiteY2" fmla="*/ 296990 h 2781300"/>
              <a:gd name="connsiteX3" fmla="*/ 2494598 w 2495550"/>
              <a:gd name="connsiteY3" fmla="*/ 7144 h 2781300"/>
              <a:gd name="connsiteX4" fmla="*/ 7144 w 2495550"/>
              <a:gd name="connsiteY4" fmla="*/ 2490216 h 278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550" h="2781300">
                <a:moveTo>
                  <a:pt x="7144" y="2490216"/>
                </a:moveTo>
                <a:lnTo>
                  <a:pt x="7144" y="2780348"/>
                </a:lnTo>
                <a:lnTo>
                  <a:pt x="2494598" y="296990"/>
                </a:lnTo>
                <a:lnTo>
                  <a:pt x="2494598" y="7144"/>
                </a:lnTo>
                <a:lnTo>
                  <a:pt x="7144" y="2490216"/>
                </a:lnTo>
                <a:close/>
              </a:path>
            </a:pathLst>
          </a:custGeom>
          <a:solidFill>
            <a:schemeClr val="accent1"/>
          </a:solidFill>
          <a:ln w="9525" cap="flat">
            <a:noFill/>
            <a:prstDash val="solid"/>
            <a:miter/>
          </a:ln>
        </p:spPr>
        <p:txBody>
          <a:bodyPr rtlCol="0" anchor="ctr"/>
          <a:lstStyle/>
          <a:p>
            <a:endParaRPr lang="uk-UA" dirty="0"/>
          </a:p>
        </p:txBody>
      </p:sp>
      <p:sp>
        <p:nvSpPr>
          <p:cNvPr id="26" name="Rectangle 25">
            <a:extLst>
              <a:ext uri="{FF2B5EF4-FFF2-40B4-BE49-F238E27FC236}">
                <a16:creationId xmlns:a16="http://schemas.microsoft.com/office/drawing/2014/main" id="{9966A57D-64CA-4A9E-A353-11B7FEF783AD}"/>
              </a:ext>
            </a:extLst>
          </p:cNvPr>
          <p:cNvSpPr/>
          <p:nvPr userDrawn="1"/>
        </p:nvSpPr>
        <p:spPr bwMode="ltGray">
          <a:xfrm>
            <a:off x="-3352800" y="-228600"/>
            <a:ext cx="3352800" cy="8763000"/>
          </a:xfrm>
          <a:prstGeom prst="rect">
            <a:avLst/>
          </a:prstGeom>
          <a:solidFill>
            <a:srgbClr val="E6E6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dirty="0" err="1">
              <a:solidFill>
                <a:schemeClr val="bg1"/>
              </a:solidFill>
              <a:latin typeface="e-Ukraine UltraLight" panose="00000300000000000000" pitchFamily="50" charset="0"/>
            </a:endParaRPr>
          </a:p>
        </p:txBody>
      </p:sp>
      <p:sp>
        <p:nvSpPr>
          <p:cNvPr id="27" name="Graphic 8">
            <a:extLst>
              <a:ext uri="{FF2B5EF4-FFF2-40B4-BE49-F238E27FC236}">
                <a16:creationId xmlns:a16="http://schemas.microsoft.com/office/drawing/2014/main" id="{01C6D29E-B040-46E8-9E46-BF3ABE688C20}"/>
              </a:ext>
            </a:extLst>
          </p:cNvPr>
          <p:cNvSpPr/>
          <p:nvPr userDrawn="1"/>
        </p:nvSpPr>
        <p:spPr>
          <a:xfrm>
            <a:off x="8390490" y="5611267"/>
            <a:ext cx="515905" cy="756291"/>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solidFill>
            <a:schemeClr val="bg1"/>
          </a:solidFill>
          <a:ln w="28575" cap="flat">
            <a:noFill/>
            <a:prstDash val="solid"/>
            <a:miter/>
          </a:ln>
        </p:spPr>
        <p:txBody>
          <a:bodyPr rtlCol="0" anchor="ctr"/>
          <a:lstStyle/>
          <a:p>
            <a:endParaRPr lang="uk-UA" dirty="0"/>
          </a:p>
        </p:txBody>
      </p:sp>
      <p:sp>
        <p:nvSpPr>
          <p:cNvPr id="28" name="Graphic 8">
            <a:extLst>
              <a:ext uri="{FF2B5EF4-FFF2-40B4-BE49-F238E27FC236}">
                <a16:creationId xmlns:a16="http://schemas.microsoft.com/office/drawing/2014/main" id="{C40BF955-9677-4186-A296-BC9CBFBE5A2D}"/>
              </a:ext>
            </a:extLst>
          </p:cNvPr>
          <p:cNvSpPr/>
          <p:nvPr userDrawn="1"/>
        </p:nvSpPr>
        <p:spPr>
          <a:xfrm>
            <a:off x="7658867" y="5331611"/>
            <a:ext cx="823366" cy="1207013"/>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solidFill>
            <a:schemeClr val="accent3"/>
          </a:solidFill>
          <a:ln w="28575" cap="flat">
            <a:noFill/>
            <a:prstDash val="solid"/>
            <a:miter/>
          </a:ln>
        </p:spPr>
        <p:txBody>
          <a:bodyPr rtlCol="0" anchor="ctr"/>
          <a:lstStyle/>
          <a:p>
            <a:endParaRPr lang="uk-UA" dirty="0"/>
          </a:p>
        </p:txBody>
      </p:sp>
      <p:grpSp>
        <p:nvGrpSpPr>
          <p:cNvPr id="4" name="Graphic 10">
            <a:extLst>
              <a:ext uri="{FF2B5EF4-FFF2-40B4-BE49-F238E27FC236}">
                <a16:creationId xmlns:a16="http://schemas.microsoft.com/office/drawing/2014/main" id="{E8FBC0BF-EA5F-4124-A96D-D2E428F5E1D2}"/>
              </a:ext>
            </a:extLst>
          </p:cNvPr>
          <p:cNvGrpSpPr/>
          <p:nvPr/>
        </p:nvGrpSpPr>
        <p:grpSpPr>
          <a:xfrm>
            <a:off x="3318631" y="2627451"/>
            <a:ext cx="5554738" cy="1603099"/>
            <a:chOff x="994727" y="966162"/>
            <a:chExt cx="2818112" cy="813308"/>
          </a:xfrm>
        </p:grpSpPr>
        <p:sp>
          <p:nvSpPr>
            <p:cNvPr id="6" name="Freeform: Shape 5">
              <a:extLst>
                <a:ext uri="{FF2B5EF4-FFF2-40B4-BE49-F238E27FC236}">
                  <a16:creationId xmlns:a16="http://schemas.microsoft.com/office/drawing/2014/main" id="{15B7C142-1860-4DC1-A0B3-7031F260AAAC}"/>
                </a:ext>
              </a:extLst>
            </p:cNvPr>
            <p:cNvSpPr/>
            <p:nvPr/>
          </p:nvSpPr>
          <p:spPr>
            <a:xfrm>
              <a:off x="993429" y="1380749"/>
              <a:ext cx="166728" cy="243992"/>
            </a:xfrm>
            <a:custGeom>
              <a:avLst/>
              <a:gdLst>
                <a:gd name="connsiteX0" fmla="*/ 1298 w 166728"/>
                <a:gd name="connsiteY0" fmla="*/ 165424 h 243992"/>
                <a:gd name="connsiteX1" fmla="*/ 1298 w 166728"/>
                <a:gd name="connsiteY1" fmla="*/ 243867 h 243992"/>
                <a:gd name="connsiteX2" fmla="*/ 165505 w 166728"/>
                <a:gd name="connsiteY2" fmla="*/ 79701 h 243992"/>
                <a:gd name="connsiteX3" fmla="*/ 165505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867"/>
                  </a:lnTo>
                  <a:lnTo>
                    <a:pt x="165505" y="79701"/>
                  </a:lnTo>
                  <a:lnTo>
                    <a:pt x="165505"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7" name="Freeform: Shape 6">
              <a:extLst>
                <a:ext uri="{FF2B5EF4-FFF2-40B4-BE49-F238E27FC236}">
                  <a16:creationId xmlns:a16="http://schemas.microsoft.com/office/drawing/2014/main" id="{E67C827E-26DB-4465-82E1-AAD5E1183991}"/>
                </a:ext>
              </a:extLst>
            </p:cNvPr>
            <p:cNvSpPr/>
            <p:nvPr/>
          </p:nvSpPr>
          <p:spPr>
            <a:xfrm>
              <a:off x="1642570" y="1081573"/>
              <a:ext cx="166728" cy="243992"/>
            </a:xfrm>
            <a:custGeom>
              <a:avLst/>
              <a:gdLst>
                <a:gd name="connsiteX0" fmla="*/ 1298 w 166728"/>
                <a:gd name="connsiteY0" fmla="*/ 165424 h 243992"/>
                <a:gd name="connsiteX1" fmla="*/ 1298 w 166728"/>
                <a:gd name="connsiteY1" fmla="*/ 243908 h 243992"/>
                <a:gd name="connsiteX2" fmla="*/ 165464 w 166728"/>
                <a:gd name="connsiteY2" fmla="*/ 79701 h 243992"/>
                <a:gd name="connsiteX3" fmla="*/ 165464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464" y="79701"/>
                  </a:lnTo>
                  <a:lnTo>
                    <a:pt x="165464"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9" name="Freeform: Shape 8">
              <a:extLst>
                <a:ext uri="{FF2B5EF4-FFF2-40B4-BE49-F238E27FC236}">
                  <a16:creationId xmlns:a16="http://schemas.microsoft.com/office/drawing/2014/main" id="{67649ED8-87F2-4390-A7F0-658355B8C512}"/>
                </a:ext>
              </a:extLst>
            </p:cNvPr>
            <p:cNvSpPr/>
            <p:nvPr/>
          </p:nvSpPr>
          <p:spPr>
            <a:xfrm>
              <a:off x="1642570" y="1198242"/>
              <a:ext cx="166728" cy="243992"/>
            </a:xfrm>
            <a:custGeom>
              <a:avLst/>
              <a:gdLst>
                <a:gd name="connsiteX0" fmla="*/ 1298 w 166728"/>
                <a:gd name="connsiteY0" fmla="*/ 165424 h 243992"/>
                <a:gd name="connsiteX1" fmla="*/ 1298 w 166728"/>
                <a:gd name="connsiteY1" fmla="*/ 243908 h 243992"/>
                <a:gd name="connsiteX2" fmla="*/ 165464 w 166728"/>
                <a:gd name="connsiteY2" fmla="*/ 79701 h 243992"/>
                <a:gd name="connsiteX3" fmla="*/ 165464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464" y="79701"/>
                  </a:lnTo>
                  <a:lnTo>
                    <a:pt x="165464"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10" name="Freeform: Shape 9">
              <a:extLst>
                <a:ext uri="{FF2B5EF4-FFF2-40B4-BE49-F238E27FC236}">
                  <a16:creationId xmlns:a16="http://schemas.microsoft.com/office/drawing/2014/main" id="{49774A96-BC87-4B6B-85E8-DBBF0A415E59}"/>
                </a:ext>
              </a:extLst>
            </p:cNvPr>
            <p:cNvSpPr/>
            <p:nvPr/>
          </p:nvSpPr>
          <p:spPr>
            <a:xfrm>
              <a:off x="1642570" y="964864"/>
              <a:ext cx="166728" cy="243992"/>
            </a:xfrm>
            <a:custGeom>
              <a:avLst/>
              <a:gdLst>
                <a:gd name="connsiteX0" fmla="*/ 1298 w 166728"/>
                <a:gd name="connsiteY0" fmla="*/ 165505 h 243992"/>
                <a:gd name="connsiteX1" fmla="*/ 1298 w 166728"/>
                <a:gd name="connsiteY1" fmla="*/ 243949 h 243992"/>
                <a:gd name="connsiteX2" fmla="*/ 165464 w 166728"/>
                <a:gd name="connsiteY2" fmla="*/ 79783 h 243992"/>
                <a:gd name="connsiteX3" fmla="*/ 165464 w 166728"/>
                <a:gd name="connsiteY3" fmla="*/ 1298 h 243992"/>
                <a:gd name="connsiteX4" fmla="*/ 1298 w 166728"/>
                <a:gd name="connsiteY4" fmla="*/ 165505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505"/>
                  </a:moveTo>
                  <a:lnTo>
                    <a:pt x="1298" y="243949"/>
                  </a:lnTo>
                  <a:lnTo>
                    <a:pt x="165464" y="79783"/>
                  </a:lnTo>
                  <a:lnTo>
                    <a:pt x="165464" y="1298"/>
                  </a:lnTo>
                  <a:lnTo>
                    <a:pt x="1298" y="165505"/>
                  </a:lnTo>
                  <a:close/>
                </a:path>
              </a:pathLst>
            </a:custGeom>
            <a:solidFill>
              <a:srgbClr val="FFD700"/>
            </a:solidFill>
            <a:ln w="4055" cap="flat">
              <a:noFill/>
              <a:prstDash val="solid"/>
              <a:miter/>
            </a:ln>
          </p:spPr>
          <p:txBody>
            <a:bodyPr rtlCol="0" anchor="ctr"/>
            <a:lstStyle/>
            <a:p>
              <a:endParaRPr lang="uk-UA"/>
            </a:p>
          </p:txBody>
        </p:sp>
        <p:sp>
          <p:nvSpPr>
            <p:cNvPr id="12" name="Freeform: Shape 11">
              <a:extLst>
                <a:ext uri="{FF2B5EF4-FFF2-40B4-BE49-F238E27FC236}">
                  <a16:creationId xmlns:a16="http://schemas.microsoft.com/office/drawing/2014/main" id="{2916D2CC-280A-4BBB-8536-92C28C708BDA}"/>
                </a:ext>
              </a:extLst>
            </p:cNvPr>
            <p:cNvSpPr/>
            <p:nvPr/>
          </p:nvSpPr>
          <p:spPr>
            <a:xfrm>
              <a:off x="993429" y="1314911"/>
              <a:ext cx="813308" cy="463586"/>
            </a:xfrm>
            <a:custGeom>
              <a:avLst/>
              <a:gdLst>
                <a:gd name="connsiteX0" fmla="*/ 650440 w 813307"/>
                <a:gd name="connsiteY0" fmla="*/ 297342 h 463585"/>
                <a:gd name="connsiteX1" fmla="*/ 407952 w 813307"/>
                <a:gd name="connsiteY1" fmla="*/ 403316 h 463585"/>
                <a:gd name="connsiteX2" fmla="*/ 167660 w 813307"/>
                <a:gd name="connsiteY2" fmla="*/ 298278 h 463585"/>
                <a:gd name="connsiteX3" fmla="*/ 1298 w 813307"/>
                <a:gd name="connsiteY3" fmla="*/ 464559 h 463585"/>
                <a:gd name="connsiteX4" fmla="*/ 814606 w 813307"/>
                <a:gd name="connsiteY4" fmla="*/ 464559 h 463585"/>
                <a:gd name="connsiteX5" fmla="*/ 814606 w 813307"/>
                <a:gd name="connsiteY5" fmla="*/ 1298 h 463585"/>
                <a:gd name="connsiteX6" fmla="*/ 650440 w 813307"/>
                <a:gd name="connsiteY6" fmla="*/ 165424 h 463585"/>
                <a:gd name="connsiteX7" fmla="*/ 650440 w 813307"/>
                <a:gd name="connsiteY7" fmla="*/ 297342 h 46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307" h="463585">
                  <a:moveTo>
                    <a:pt x="650440" y="297342"/>
                  </a:moveTo>
                  <a:lnTo>
                    <a:pt x="407952" y="403316"/>
                  </a:lnTo>
                  <a:lnTo>
                    <a:pt x="167660" y="298278"/>
                  </a:lnTo>
                  <a:lnTo>
                    <a:pt x="1298" y="464559"/>
                  </a:lnTo>
                  <a:lnTo>
                    <a:pt x="814606" y="464559"/>
                  </a:lnTo>
                  <a:lnTo>
                    <a:pt x="814606" y="1298"/>
                  </a:lnTo>
                  <a:lnTo>
                    <a:pt x="650440" y="165424"/>
                  </a:lnTo>
                  <a:lnTo>
                    <a:pt x="650440" y="297342"/>
                  </a:lnTo>
                  <a:close/>
                </a:path>
              </a:pathLst>
            </a:custGeom>
            <a:solidFill>
              <a:srgbClr val="FFD700"/>
            </a:solidFill>
            <a:ln w="4055" cap="flat">
              <a:noFill/>
              <a:prstDash val="solid"/>
              <a:miter/>
            </a:ln>
          </p:spPr>
          <p:txBody>
            <a:bodyPr rtlCol="0" anchor="ctr"/>
            <a:lstStyle/>
            <a:p>
              <a:endParaRPr lang="uk-UA"/>
            </a:p>
          </p:txBody>
        </p:sp>
        <p:sp>
          <p:nvSpPr>
            <p:cNvPr id="13" name="Freeform: Shape 12">
              <a:extLst>
                <a:ext uri="{FF2B5EF4-FFF2-40B4-BE49-F238E27FC236}">
                  <a16:creationId xmlns:a16="http://schemas.microsoft.com/office/drawing/2014/main" id="{E7CF4F2A-E57C-49CD-895C-4F7733094D4D}"/>
                </a:ext>
              </a:extLst>
            </p:cNvPr>
            <p:cNvSpPr/>
            <p:nvPr/>
          </p:nvSpPr>
          <p:spPr>
            <a:xfrm>
              <a:off x="993429" y="964864"/>
              <a:ext cx="776709" cy="426987"/>
            </a:xfrm>
            <a:custGeom>
              <a:avLst/>
              <a:gdLst>
                <a:gd name="connsiteX0" fmla="*/ 776421 w 776709"/>
                <a:gd name="connsiteY0" fmla="*/ 1298 h 426986"/>
                <a:gd name="connsiteX1" fmla="*/ 1298 w 776709"/>
                <a:gd name="connsiteY1" fmla="*/ 1298 h 426986"/>
                <a:gd name="connsiteX2" fmla="*/ 1298 w 776709"/>
                <a:gd name="connsiteY2" fmla="*/ 426455 h 426986"/>
                <a:gd name="connsiteX3" fmla="*/ 165505 w 776709"/>
                <a:gd name="connsiteY3" fmla="*/ 262248 h 426986"/>
                <a:gd name="connsiteX4" fmla="*/ 165505 w 776709"/>
                <a:gd name="connsiteY4" fmla="*/ 126588 h 426986"/>
                <a:gd name="connsiteX5" fmla="*/ 650440 w 776709"/>
                <a:gd name="connsiteY5" fmla="*/ 126588 h 426986"/>
                <a:gd name="connsiteX6" fmla="*/ 776421 w 776709"/>
                <a:gd name="connsiteY6" fmla="*/ 1298 h 426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709" h="426986">
                  <a:moveTo>
                    <a:pt x="776421" y="1298"/>
                  </a:moveTo>
                  <a:lnTo>
                    <a:pt x="1298" y="1298"/>
                  </a:lnTo>
                  <a:lnTo>
                    <a:pt x="1298" y="426455"/>
                  </a:lnTo>
                  <a:lnTo>
                    <a:pt x="165505" y="262248"/>
                  </a:lnTo>
                  <a:lnTo>
                    <a:pt x="165505" y="126588"/>
                  </a:lnTo>
                  <a:lnTo>
                    <a:pt x="650440" y="126588"/>
                  </a:lnTo>
                  <a:lnTo>
                    <a:pt x="776421" y="1298"/>
                  </a:lnTo>
                  <a:close/>
                </a:path>
              </a:pathLst>
            </a:custGeom>
            <a:solidFill>
              <a:srgbClr val="FFD700"/>
            </a:solidFill>
            <a:ln w="4055" cap="flat">
              <a:noFill/>
              <a:prstDash val="solid"/>
              <a:miter/>
            </a:ln>
          </p:spPr>
          <p:txBody>
            <a:bodyPr rtlCol="0" anchor="ctr"/>
            <a:lstStyle/>
            <a:p>
              <a:endParaRPr lang="uk-UA"/>
            </a:p>
          </p:txBody>
        </p:sp>
        <p:sp>
          <p:nvSpPr>
            <p:cNvPr id="15" name="Freeform: Shape 14">
              <a:extLst>
                <a:ext uri="{FF2B5EF4-FFF2-40B4-BE49-F238E27FC236}">
                  <a16:creationId xmlns:a16="http://schemas.microsoft.com/office/drawing/2014/main" id="{A6A563E0-DD48-4D02-80C5-6903FD2A272F}"/>
                </a:ext>
              </a:extLst>
            </p:cNvPr>
            <p:cNvSpPr/>
            <p:nvPr/>
          </p:nvSpPr>
          <p:spPr>
            <a:xfrm>
              <a:off x="993429" y="1264080"/>
              <a:ext cx="166728" cy="243992"/>
            </a:xfrm>
            <a:custGeom>
              <a:avLst/>
              <a:gdLst>
                <a:gd name="connsiteX0" fmla="*/ 1298 w 166728"/>
                <a:gd name="connsiteY0" fmla="*/ 165424 h 243992"/>
                <a:gd name="connsiteX1" fmla="*/ 1298 w 166728"/>
                <a:gd name="connsiteY1" fmla="*/ 243908 h 243992"/>
                <a:gd name="connsiteX2" fmla="*/ 165505 w 166728"/>
                <a:gd name="connsiteY2" fmla="*/ 79701 h 243992"/>
                <a:gd name="connsiteX3" fmla="*/ 165505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505" y="79701"/>
                  </a:lnTo>
                  <a:lnTo>
                    <a:pt x="165505"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16" name="Freeform: Shape 15">
              <a:extLst>
                <a:ext uri="{FF2B5EF4-FFF2-40B4-BE49-F238E27FC236}">
                  <a16:creationId xmlns:a16="http://schemas.microsoft.com/office/drawing/2014/main" id="{7FD9BFB1-83C8-41C3-B7E1-2D8384D2357C}"/>
                </a:ext>
              </a:extLst>
            </p:cNvPr>
            <p:cNvSpPr/>
            <p:nvPr/>
          </p:nvSpPr>
          <p:spPr>
            <a:xfrm>
              <a:off x="993429" y="1497377"/>
              <a:ext cx="166728" cy="243992"/>
            </a:xfrm>
            <a:custGeom>
              <a:avLst/>
              <a:gdLst>
                <a:gd name="connsiteX0" fmla="*/ 1298 w 166728"/>
                <a:gd name="connsiteY0" fmla="*/ 165424 h 243992"/>
                <a:gd name="connsiteX1" fmla="*/ 1298 w 166728"/>
                <a:gd name="connsiteY1" fmla="*/ 243908 h 243992"/>
                <a:gd name="connsiteX2" fmla="*/ 165505 w 166728"/>
                <a:gd name="connsiteY2" fmla="*/ 79701 h 243992"/>
                <a:gd name="connsiteX3" fmla="*/ 165505 w 166728"/>
                <a:gd name="connsiteY3" fmla="*/ 1298 h 243992"/>
                <a:gd name="connsiteX4" fmla="*/ 1298 w 166728"/>
                <a:gd name="connsiteY4" fmla="*/ 165424 h 243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8" h="243992">
                  <a:moveTo>
                    <a:pt x="1298" y="165424"/>
                  </a:moveTo>
                  <a:lnTo>
                    <a:pt x="1298" y="243908"/>
                  </a:lnTo>
                  <a:lnTo>
                    <a:pt x="165505" y="79701"/>
                  </a:lnTo>
                  <a:lnTo>
                    <a:pt x="165505" y="1298"/>
                  </a:lnTo>
                  <a:lnTo>
                    <a:pt x="1298" y="165424"/>
                  </a:lnTo>
                  <a:close/>
                </a:path>
              </a:pathLst>
            </a:custGeom>
            <a:solidFill>
              <a:srgbClr val="FFD700"/>
            </a:solidFill>
            <a:ln w="4055" cap="flat">
              <a:noFill/>
              <a:prstDash val="solid"/>
              <a:miter/>
            </a:ln>
          </p:spPr>
          <p:txBody>
            <a:bodyPr rtlCol="0" anchor="ctr"/>
            <a:lstStyle/>
            <a:p>
              <a:endParaRPr lang="uk-UA"/>
            </a:p>
          </p:txBody>
        </p:sp>
        <p:sp>
          <p:nvSpPr>
            <p:cNvPr id="17" name="Freeform: Shape 16">
              <a:extLst>
                <a:ext uri="{FF2B5EF4-FFF2-40B4-BE49-F238E27FC236}">
                  <a16:creationId xmlns:a16="http://schemas.microsoft.com/office/drawing/2014/main" id="{EC995CB9-98B5-43B6-B99D-3330658EB936}"/>
                </a:ext>
              </a:extLst>
            </p:cNvPr>
            <p:cNvSpPr/>
            <p:nvPr/>
          </p:nvSpPr>
          <p:spPr>
            <a:xfrm>
              <a:off x="1273003" y="1239192"/>
              <a:ext cx="40665" cy="187061"/>
            </a:xfrm>
            <a:custGeom>
              <a:avLst/>
              <a:gdLst>
                <a:gd name="connsiteX0" fmla="*/ 15694 w 40665"/>
                <a:gd name="connsiteY0" fmla="*/ 189376 h 187060"/>
                <a:gd name="connsiteX1" fmla="*/ 1298 w 40665"/>
                <a:gd name="connsiteY1" fmla="*/ 189376 h 187060"/>
                <a:gd name="connsiteX2" fmla="*/ 1298 w 40665"/>
                <a:gd name="connsiteY2" fmla="*/ 1298 h 187060"/>
                <a:gd name="connsiteX3" fmla="*/ 32082 w 40665"/>
                <a:gd name="connsiteY3" fmla="*/ 71121 h 187060"/>
                <a:gd name="connsiteX4" fmla="*/ 42330 w 40665"/>
                <a:gd name="connsiteY4" fmla="*/ 156518 h 187060"/>
                <a:gd name="connsiteX5" fmla="*/ 15694 w 40665"/>
                <a:gd name="connsiteY5" fmla="*/ 189376 h 18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5" h="187060">
                  <a:moveTo>
                    <a:pt x="15694" y="189376"/>
                  </a:moveTo>
                  <a:lnTo>
                    <a:pt x="1298" y="189376"/>
                  </a:lnTo>
                  <a:lnTo>
                    <a:pt x="1298" y="1298"/>
                  </a:lnTo>
                  <a:cubicBezTo>
                    <a:pt x="18154" y="21070"/>
                    <a:pt x="28853" y="45343"/>
                    <a:pt x="32082" y="71121"/>
                  </a:cubicBezTo>
                  <a:lnTo>
                    <a:pt x="42330" y="156518"/>
                  </a:lnTo>
                  <a:cubicBezTo>
                    <a:pt x="29113" y="163098"/>
                    <a:pt x="19398" y="175082"/>
                    <a:pt x="15694" y="189376"/>
                  </a:cubicBezTo>
                  <a:close/>
                </a:path>
              </a:pathLst>
            </a:custGeom>
            <a:solidFill>
              <a:srgbClr val="FFD700"/>
            </a:solidFill>
            <a:ln w="4055" cap="flat">
              <a:noFill/>
              <a:prstDash val="solid"/>
              <a:miter/>
            </a:ln>
          </p:spPr>
          <p:txBody>
            <a:bodyPr rtlCol="0" anchor="ctr"/>
            <a:lstStyle/>
            <a:p>
              <a:endParaRPr lang="uk-UA"/>
            </a:p>
          </p:txBody>
        </p:sp>
        <p:sp>
          <p:nvSpPr>
            <p:cNvPr id="21" name="Freeform: Shape 20">
              <a:extLst>
                <a:ext uri="{FF2B5EF4-FFF2-40B4-BE49-F238E27FC236}">
                  <a16:creationId xmlns:a16="http://schemas.microsoft.com/office/drawing/2014/main" id="{EEEAA4F9-E491-4400-ADA0-C758A221848A}"/>
                </a:ext>
              </a:extLst>
            </p:cNvPr>
            <p:cNvSpPr/>
            <p:nvPr/>
          </p:nvSpPr>
          <p:spPr>
            <a:xfrm>
              <a:off x="1273003" y="1452848"/>
              <a:ext cx="60998" cy="77264"/>
            </a:xfrm>
            <a:custGeom>
              <a:avLst/>
              <a:gdLst>
                <a:gd name="connsiteX0" fmla="*/ 51357 w 60998"/>
                <a:gd name="connsiteY0" fmla="*/ 37409 h 77264"/>
                <a:gd name="connsiteX1" fmla="*/ 63557 w 60998"/>
                <a:gd name="connsiteY1" fmla="*/ 40134 h 77264"/>
                <a:gd name="connsiteX2" fmla="*/ 58474 w 60998"/>
                <a:gd name="connsiteY2" fmla="*/ 77383 h 77264"/>
                <a:gd name="connsiteX3" fmla="*/ 1298 w 60998"/>
                <a:gd name="connsiteY3" fmla="*/ 77383 h 77264"/>
                <a:gd name="connsiteX4" fmla="*/ 1298 w 60998"/>
                <a:gd name="connsiteY4" fmla="*/ 1298 h 77264"/>
                <a:gd name="connsiteX5" fmla="*/ 15694 w 60998"/>
                <a:gd name="connsiteY5" fmla="*/ 1298 h 77264"/>
                <a:gd name="connsiteX6" fmla="*/ 51357 w 60998"/>
                <a:gd name="connsiteY6" fmla="*/ 37409 h 7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98" h="77264">
                  <a:moveTo>
                    <a:pt x="51357" y="37409"/>
                  </a:moveTo>
                  <a:lnTo>
                    <a:pt x="63557" y="40134"/>
                  </a:lnTo>
                  <a:cubicBezTo>
                    <a:pt x="60214" y="52268"/>
                    <a:pt x="58502" y="64797"/>
                    <a:pt x="58474" y="77383"/>
                  </a:cubicBezTo>
                  <a:lnTo>
                    <a:pt x="1298" y="77383"/>
                  </a:lnTo>
                  <a:lnTo>
                    <a:pt x="1298" y="1298"/>
                  </a:lnTo>
                  <a:lnTo>
                    <a:pt x="15694" y="1298"/>
                  </a:lnTo>
                  <a:cubicBezTo>
                    <a:pt x="20350" y="18801"/>
                    <a:pt x="33916" y="32533"/>
                    <a:pt x="51357" y="37409"/>
                  </a:cubicBezTo>
                  <a:close/>
                </a:path>
              </a:pathLst>
            </a:custGeom>
            <a:solidFill>
              <a:srgbClr val="FFD700"/>
            </a:solidFill>
            <a:ln w="4055" cap="flat">
              <a:noFill/>
              <a:prstDash val="solid"/>
              <a:miter/>
            </a:ln>
          </p:spPr>
          <p:txBody>
            <a:bodyPr rtlCol="0" anchor="ctr"/>
            <a:lstStyle/>
            <a:p>
              <a:endParaRPr lang="uk-UA"/>
            </a:p>
          </p:txBody>
        </p:sp>
        <p:sp>
          <p:nvSpPr>
            <p:cNvPr id="22" name="Freeform: Shape 21">
              <a:extLst>
                <a:ext uri="{FF2B5EF4-FFF2-40B4-BE49-F238E27FC236}">
                  <a16:creationId xmlns:a16="http://schemas.microsoft.com/office/drawing/2014/main" id="{A73A8C73-2250-4188-A874-E87D0A89548A}"/>
                </a:ext>
              </a:extLst>
            </p:cNvPr>
            <p:cNvSpPr/>
            <p:nvPr/>
          </p:nvSpPr>
          <p:spPr>
            <a:xfrm>
              <a:off x="1355595" y="1497621"/>
              <a:ext cx="32532" cy="32532"/>
            </a:xfrm>
            <a:custGeom>
              <a:avLst/>
              <a:gdLst>
                <a:gd name="connsiteX0" fmla="*/ 33058 w 32532"/>
                <a:gd name="connsiteY0" fmla="*/ 32611 h 32532"/>
                <a:gd name="connsiteX1" fmla="*/ 1298 w 32532"/>
                <a:gd name="connsiteY1" fmla="*/ 32611 h 32532"/>
                <a:gd name="connsiteX2" fmla="*/ 5812 w 32532"/>
                <a:gd name="connsiteY2" fmla="*/ 1298 h 32532"/>
                <a:gd name="connsiteX3" fmla="*/ 33058 w 32532"/>
                <a:gd name="connsiteY3" fmla="*/ 32611 h 32532"/>
              </a:gdLst>
              <a:ahLst/>
              <a:cxnLst>
                <a:cxn ang="0">
                  <a:pos x="connsiteX0" y="connsiteY0"/>
                </a:cxn>
                <a:cxn ang="0">
                  <a:pos x="connsiteX1" y="connsiteY1"/>
                </a:cxn>
                <a:cxn ang="0">
                  <a:pos x="connsiteX2" y="connsiteY2"/>
                </a:cxn>
                <a:cxn ang="0">
                  <a:pos x="connsiteX3" y="connsiteY3"/>
                </a:cxn>
              </a:cxnLst>
              <a:rect l="l" t="t" r="r" b="b"/>
              <a:pathLst>
                <a:path w="32532" h="32532">
                  <a:moveTo>
                    <a:pt x="33058" y="32611"/>
                  </a:moveTo>
                  <a:lnTo>
                    <a:pt x="1298" y="32611"/>
                  </a:lnTo>
                  <a:cubicBezTo>
                    <a:pt x="1319" y="22013"/>
                    <a:pt x="2835" y="11469"/>
                    <a:pt x="5812" y="1298"/>
                  </a:cubicBezTo>
                  <a:cubicBezTo>
                    <a:pt x="21428" y="3486"/>
                    <a:pt x="33050" y="16841"/>
                    <a:pt x="33058" y="32611"/>
                  </a:cubicBezTo>
                  <a:close/>
                </a:path>
              </a:pathLst>
            </a:custGeom>
            <a:solidFill>
              <a:srgbClr val="FFD700"/>
            </a:solidFill>
            <a:ln w="4055"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D2A3B3E5-0384-457B-A7D8-937A0C22B3D4}"/>
                </a:ext>
              </a:extLst>
            </p:cNvPr>
            <p:cNvSpPr/>
            <p:nvPr/>
          </p:nvSpPr>
          <p:spPr>
            <a:xfrm>
              <a:off x="1358523" y="1554512"/>
              <a:ext cx="28466" cy="52865"/>
            </a:xfrm>
            <a:custGeom>
              <a:avLst/>
              <a:gdLst>
                <a:gd name="connsiteX0" fmla="*/ 1298 w 28465"/>
                <a:gd name="connsiteY0" fmla="*/ 1298 h 52865"/>
                <a:gd name="connsiteX1" fmla="*/ 30130 w 28465"/>
                <a:gd name="connsiteY1" fmla="*/ 1298 h 52865"/>
                <a:gd name="connsiteX2" fmla="*/ 30130 w 28465"/>
                <a:gd name="connsiteY2" fmla="*/ 54855 h 52865"/>
                <a:gd name="connsiteX3" fmla="*/ 1298 w 28465"/>
                <a:gd name="connsiteY3" fmla="*/ 1298 h 52865"/>
              </a:gdLst>
              <a:ahLst/>
              <a:cxnLst>
                <a:cxn ang="0">
                  <a:pos x="connsiteX0" y="connsiteY0"/>
                </a:cxn>
                <a:cxn ang="0">
                  <a:pos x="connsiteX1" y="connsiteY1"/>
                </a:cxn>
                <a:cxn ang="0">
                  <a:pos x="connsiteX2" y="connsiteY2"/>
                </a:cxn>
                <a:cxn ang="0">
                  <a:pos x="connsiteX3" y="connsiteY3"/>
                </a:cxn>
              </a:cxnLst>
              <a:rect l="l" t="t" r="r" b="b"/>
              <a:pathLst>
                <a:path w="28465" h="52865">
                  <a:moveTo>
                    <a:pt x="1298" y="1298"/>
                  </a:moveTo>
                  <a:lnTo>
                    <a:pt x="30130" y="1298"/>
                  </a:lnTo>
                  <a:lnTo>
                    <a:pt x="30130" y="54855"/>
                  </a:lnTo>
                  <a:cubicBezTo>
                    <a:pt x="15865" y="39930"/>
                    <a:pt x="5902" y="21424"/>
                    <a:pt x="1298" y="1298"/>
                  </a:cubicBezTo>
                  <a:close/>
                </a:path>
              </a:pathLst>
            </a:custGeom>
            <a:solidFill>
              <a:srgbClr val="FFD700"/>
            </a:solidFill>
            <a:ln w="4055"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BC13C623-EF3E-4B49-ACDF-1EEBCDCBDDE6}"/>
                </a:ext>
              </a:extLst>
            </p:cNvPr>
            <p:cNvSpPr/>
            <p:nvPr/>
          </p:nvSpPr>
          <p:spPr>
            <a:xfrm>
              <a:off x="1372186" y="1411085"/>
              <a:ext cx="56932" cy="81331"/>
            </a:xfrm>
            <a:custGeom>
              <a:avLst/>
              <a:gdLst>
                <a:gd name="connsiteX0" fmla="*/ 57091 w 56931"/>
                <a:gd name="connsiteY0" fmla="*/ 64574 h 81330"/>
                <a:gd name="connsiteX1" fmla="*/ 29195 w 56931"/>
                <a:gd name="connsiteY1" fmla="*/ 83320 h 81330"/>
                <a:gd name="connsiteX2" fmla="*/ 1298 w 56931"/>
                <a:gd name="connsiteY2" fmla="*/ 64574 h 81330"/>
                <a:gd name="connsiteX3" fmla="*/ 29195 w 56931"/>
                <a:gd name="connsiteY3" fmla="*/ 1298 h 81330"/>
                <a:gd name="connsiteX4" fmla="*/ 57091 w 56931"/>
                <a:gd name="connsiteY4" fmla="*/ 64574 h 8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31" h="81330">
                  <a:moveTo>
                    <a:pt x="57091" y="64574"/>
                  </a:moveTo>
                  <a:cubicBezTo>
                    <a:pt x="46132" y="67904"/>
                    <a:pt x="36417" y="74431"/>
                    <a:pt x="29195" y="83320"/>
                  </a:cubicBezTo>
                  <a:cubicBezTo>
                    <a:pt x="21993" y="74407"/>
                    <a:pt x="12270" y="67872"/>
                    <a:pt x="1298" y="64574"/>
                  </a:cubicBezTo>
                  <a:cubicBezTo>
                    <a:pt x="13087" y="44668"/>
                    <a:pt x="22452" y="23424"/>
                    <a:pt x="29195" y="1298"/>
                  </a:cubicBezTo>
                  <a:cubicBezTo>
                    <a:pt x="35957" y="23420"/>
                    <a:pt x="45323" y="44660"/>
                    <a:pt x="57091" y="64574"/>
                  </a:cubicBezTo>
                  <a:close/>
                </a:path>
              </a:pathLst>
            </a:custGeom>
            <a:solidFill>
              <a:srgbClr val="FFD700"/>
            </a:solidFill>
            <a:ln w="4055"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E26A251-B8E4-4C22-BF72-8FA4D70A077B}"/>
                </a:ext>
              </a:extLst>
            </p:cNvPr>
            <p:cNvSpPr/>
            <p:nvPr/>
          </p:nvSpPr>
          <p:spPr>
            <a:xfrm>
              <a:off x="1412770" y="1554512"/>
              <a:ext cx="28466" cy="52865"/>
            </a:xfrm>
            <a:custGeom>
              <a:avLst/>
              <a:gdLst>
                <a:gd name="connsiteX0" fmla="*/ 1298 w 28465"/>
                <a:gd name="connsiteY0" fmla="*/ 1298 h 52865"/>
                <a:gd name="connsiteX1" fmla="*/ 30211 w 28465"/>
                <a:gd name="connsiteY1" fmla="*/ 1298 h 52865"/>
                <a:gd name="connsiteX2" fmla="*/ 1298 w 28465"/>
                <a:gd name="connsiteY2" fmla="*/ 54855 h 52865"/>
              </a:gdLst>
              <a:ahLst/>
              <a:cxnLst>
                <a:cxn ang="0">
                  <a:pos x="connsiteX0" y="connsiteY0"/>
                </a:cxn>
                <a:cxn ang="0">
                  <a:pos x="connsiteX1" y="connsiteY1"/>
                </a:cxn>
                <a:cxn ang="0">
                  <a:pos x="connsiteX2" y="connsiteY2"/>
                </a:cxn>
              </a:cxnLst>
              <a:rect l="l" t="t" r="r" b="b"/>
              <a:pathLst>
                <a:path w="28465" h="52865">
                  <a:moveTo>
                    <a:pt x="1298" y="1298"/>
                  </a:moveTo>
                  <a:lnTo>
                    <a:pt x="30211" y="1298"/>
                  </a:lnTo>
                  <a:cubicBezTo>
                    <a:pt x="25563" y="21424"/>
                    <a:pt x="15576" y="39926"/>
                    <a:pt x="1298" y="54855"/>
                  </a:cubicBezTo>
                  <a:close/>
                </a:path>
              </a:pathLst>
            </a:custGeom>
            <a:solidFill>
              <a:srgbClr val="FFD700"/>
            </a:solidFill>
            <a:ln w="4055"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8A253B75-4C2E-4891-A003-0220EBEEBCA9}"/>
                </a:ext>
              </a:extLst>
            </p:cNvPr>
            <p:cNvSpPr/>
            <p:nvPr/>
          </p:nvSpPr>
          <p:spPr>
            <a:xfrm>
              <a:off x="1412770" y="1497580"/>
              <a:ext cx="32532" cy="32532"/>
            </a:xfrm>
            <a:custGeom>
              <a:avLst/>
              <a:gdLst>
                <a:gd name="connsiteX0" fmla="*/ 28625 w 32532"/>
                <a:gd name="connsiteY0" fmla="*/ 1298 h 32532"/>
                <a:gd name="connsiteX1" fmla="*/ 33058 w 32532"/>
                <a:gd name="connsiteY1" fmla="*/ 32611 h 32532"/>
                <a:gd name="connsiteX2" fmla="*/ 1298 w 32532"/>
                <a:gd name="connsiteY2" fmla="*/ 32611 h 32532"/>
                <a:gd name="connsiteX3" fmla="*/ 28625 w 32532"/>
                <a:gd name="connsiteY3" fmla="*/ 1298 h 32532"/>
              </a:gdLst>
              <a:ahLst/>
              <a:cxnLst>
                <a:cxn ang="0">
                  <a:pos x="connsiteX0" y="connsiteY0"/>
                </a:cxn>
                <a:cxn ang="0">
                  <a:pos x="connsiteX1" y="connsiteY1"/>
                </a:cxn>
                <a:cxn ang="0">
                  <a:pos x="connsiteX2" y="connsiteY2"/>
                </a:cxn>
                <a:cxn ang="0">
                  <a:pos x="connsiteX3" y="connsiteY3"/>
                </a:cxn>
              </a:cxnLst>
              <a:rect l="l" t="t" r="r" b="b"/>
              <a:pathLst>
                <a:path w="32532" h="32532">
                  <a:moveTo>
                    <a:pt x="28625" y="1298"/>
                  </a:moveTo>
                  <a:cubicBezTo>
                    <a:pt x="31553" y="11477"/>
                    <a:pt x="33046" y="22017"/>
                    <a:pt x="33058" y="32611"/>
                  </a:cubicBezTo>
                  <a:lnTo>
                    <a:pt x="1298" y="32611"/>
                  </a:lnTo>
                  <a:cubicBezTo>
                    <a:pt x="1315" y="16816"/>
                    <a:pt x="12977" y="3450"/>
                    <a:pt x="28625" y="1298"/>
                  </a:cubicBezTo>
                  <a:close/>
                </a:path>
              </a:pathLst>
            </a:custGeom>
            <a:solidFill>
              <a:srgbClr val="FFD700"/>
            </a:solidFill>
            <a:ln w="4055"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4D6663F0-84E3-420A-B943-A1C8E431BB55}"/>
                </a:ext>
              </a:extLst>
            </p:cNvPr>
            <p:cNvSpPr/>
            <p:nvPr/>
          </p:nvSpPr>
          <p:spPr>
            <a:xfrm>
              <a:off x="1486171" y="1239192"/>
              <a:ext cx="40665" cy="187061"/>
            </a:xfrm>
            <a:custGeom>
              <a:avLst/>
              <a:gdLst>
                <a:gd name="connsiteX0" fmla="*/ 11505 w 40665"/>
                <a:gd name="connsiteY0" fmla="*/ 71121 h 187060"/>
                <a:gd name="connsiteX1" fmla="*/ 42289 w 40665"/>
                <a:gd name="connsiteY1" fmla="*/ 1298 h 187060"/>
                <a:gd name="connsiteX2" fmla="*/ 42289 w 40665"/>
                <a:gd name="connsiteY2" fmla="*/ 189376 h 187060"/>
                <a:gd name="connsiteX3" fmla="*/ 27894 w 40665"/>
                <a:gd name="connsiteY3" fmla="*/ 189376 h 187060"/>
                <a:gd name="connsiteX4" fmla="*/ 1298 w 40665"/>
                <a:gd name="connsiteY4" fmla="*/ 156599 h 18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5" h="187060">
                  <a:moveTo>
                    <a:pt x="11505" y="71121"/>
                  </a:moveTo>
                  <a:cubicBezTo>
                    <a:pt x="14771" y="45351"/>
                    <a:pt x="25466" y="21090"/>
                    <a:pt x="42289" y="1298"/>
                  </a:cubicBezTo>
                  <a:lnTo>
                    <a:pt x="42289" y="189376"/>
                  </a:lnTo>
                  <a:lnTo>
                    <a:pt x="27894" y="189376"/>
                  </a:lnTo>
                  <a:cubicBezTo>
                    <a:pt x="24169" y="175127"/>
                    <a:pt x="14474" y="163179"/>
                    <a:pt x="1298" y="156599"/>
                  </a:cubicBezTo>
                  <a:close/>
                </a:path>
              </a:pathLst>
            </a:custGeom>
            <a:solidFill>
              <a:srgbClr val="FFD700"/>
            </a:solidFill>
            <a:ln w="4055"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D314DD0E-8D3C-401E-B096-8365549C3061}"/>
                </a:ext>
              </a:extLst>
            </p:cNvPr>
            <p:cNvSpPr/>
            <p:nvPr/>
          </p:nvSpPr>
          <p:spPr>
            <a:xfrm>
              <a:off x="1464944" y="1452848"/>
              <a:ext cx="60998" cy="77264"/>
            </a:xfrm>
            <a:custGeom>
              <a:avLst/>
              <a:gdLst>
                <a:gd name="connsiteX0" fmla="*/ 49121 w 60998"/>
                <a:gd name="connsiteY0" fmla="*/ 1298 h 77264"/>
                <a:gd name="connsiteX1" fmla="*/ 63516 w 60998"/>
                <a:gd name="connsiteY1" fmla="*/ 1298 h 77264"/>
                <a:gd name="connsiteX2" fmla="*/ 63516 w 60998"/>
                <a:gd name="connsiteY2" fmla="*/ 77546 h 77264"/>
                <a:gd name="connsiteX3" fmla="*/ 6300 w 60998"/>
                <a:gd name="connsiteY3" fmla="*/ 77546 h 77264"/>
                <a:gd name="connsiteX4" fmla="*/ 1298 w 60998"/>
                <a:gd name="connsiteY4" fmla="*/ 40296 h 77264"/>
                <a:gd name="connsiteX5" fmla="*/ 13498 w 60998"/>
                <a:gd name="connsiteY5" fmla="*/ 37572 h 77264"/>
                <a:gd name="connsiteX6" fmla="*/ 49121 w 60998"/>
                <a:gd name="connsiteY6" fmla="*/ 1298 h 7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98" h="77264">
                  <a:moveTo>
                    <a:pt x="49121" y="1298"/>
                  </a:moveTo>
                  <a:lnTo>
                    <a:pt x="63516" y="1298"/>
                  </a:lnTo>
                  <a:lnTo>
                    <a:pt x="63516" y="77546"/>
                  </a:lnTo>
                  <a:lnTo>
                    <a:pt x="6300" y="77546"/>
                  </a:lnTo>
                  <a:cubicBezTo>
                    <a:pt x="6296" y="64964"/>
                    <a:pt x="4617" y="52435"/>
                    <a:pt x="1298" y="40296"/>
                  </a:cubicBezTo>
                  <a:lnTo>
                    <a:pt x="13498" y="37572"/>
                  </a:lnTo>
                  <a:cubicBezTo>
                    <a:pt x="30964" y="32655"/>
                    <a:pt x="44522" y="18854"/>
                    <a:pt x="49121" y="1298"/>
                  </a:cubicBezTo>
                  <a:close/>
                </a:path>
              </a:pathLst>
            </a:custGeom>
            <a:solidFill>
              <a:srgbClr val="FFD700"/>
            </a:solidFill>
            <a:ln w="4055"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09CBEA3-BBB4-425A-B1F4-DACAE6116678}"/>
                </a:ext>
              </a:extLst>
            </p:cNvPr>
            <p:cNvSpPr/>
            <p:nvPr/>
          </p:nvSpPr>
          <p:spPr>
            <a:xfrm>
              <a:off x="1184597" y="1117156"/>
              <a:ext cx="431053" cy="569316"/>
            </a:xfrm>
            <a:custGeom>
              <a:avLst/>
              <a:gdLst>
                <a:gd name="connsiteX0" fmla="*/ 1298 w 431053"/>
                <a:gd name="connsiteY0" fmla="*/ 1298 h 569315"/>
                <a:gd name="connsiteX1" fmla="*/ 1298 w 431053"/>
                <a:gd name="connsiteY1" fmla="*/ 477368 h 569315"/>
                <a:gd name="connsiteX2" fmla="*/ 216825 w 431053"/>
                <a:gd name="connsiteY2" fmla="*/ 571549 h 569315"/>
                <a:gd name="connsiteX3" fmla="*/ 432352 w 431053"/>
                <a:gd name="connsiteY3" fmla="*/ 477368 h 569315"/>
                <a:gd name="connsiteX4" fmla="*/ 432352 w 431053"/>
                <a:gd name="connsiteY4" fmla="*/ 1298 h 569315"/>
                <a:gd name="connsiteX5" fmla="*/ 369483 w 431053"/>
                <a:gd name="connsiteY5" fmla="*/ 438655 h 569315"/>
                <a:gd name="connsiteX6" fmla="*/ 284329 w 431053"/>
                <a:gd name="connsiteY6" fmla="*/ 438655 h 569315"/>
                <a:gd name="connsiteX7" fmla="*/ 232278 w 431053"/>
                <a:gd name="connsiteY7" fmla="*/ 523849 h 569315"/>
                <a:gd name="connsiteX8" fmla="*/ 216784 w 431053"/>
                <a:gd name="connsiteY8" fmla="*/ 540766 h 569315"/>
                <a:gd name="connsiteX9" fmla="*/ 201331 w 431053"/>
                <a:gd name="connsiteY9" fmla="*/ 523849 h 569315"/>
                <a:gd name="connsiteX10" fmla="*/ 149280 w 431053"/>
                <a:gd name="connsiteY10" fmla="*/ 438655 h 569315"/>
                <a:gd name="connsiteX11" fmla="*/ 64492 w 431053"/>
                <a:gd name="connsiteY11" fmla="*/ 438655 h 569315"/>
                <a:gd name="connsiteX12" fmla="*/ 64492 w 431053"/>
                <a:gd name="connsiteY12" fmla="*/ 70267 h 569315"/>
                <a:gd name="connsiteX13" fmla="*/ 83524 w 431053"/>
                <a:gd name="connsiteY13" fmla="*/ 82466 h 569315"/>
                <a:gd name="connsiteX14" fmla="*/ 146514 w 431053"/>
                <a:gd name="connsiteY14" fmla="*/ 195476 h 569315"/>
                <a:gd name="connsiteX15" fmla="*/ 158714 w 431053"/>
                <a:gd name="connsiteY15" fmla="*/ 299132 h 569315"/>
                <a:gd name="connsiteX16" fmla="*/ 153224 w 431053"/>
                <a:gd name="connsiteY16" fmla="*/ 298562 h 569315"/>
                <a:gd name="connsiteX17" fmla="*/ 125429 w 431053"/>
                <a:gd name="connsiteY17" fmla="*/ 321396 h 569315"/>
                <a:gd name="connsiteX18" fmla="*/ 148263 w 431053"/>
                <a:gd name="connsiteY18" fmla="*/ 349191 h 569315"/>
                <a:gd name="connsiteX19" fmla="*/ 163594 w 431053"/>
                <a:gd name="connsiteY19" fmla="*/ 352322 h 569315"/>
                <a:gd name="connsiteX20" fmla="*/ 178762 w 431053"/>
                <a:gd name="connsiteY20" fmla="*/ 322718 h 569315"/>
                <a:gd name="connsiteX21" fmla="*/ 204056 w 431053"/>
                <a:gd name="connsiteY21" fmla="*/ 209912 h 569315"/>
                <a:gd name="connsiteX22" fmla="*/ 197712 w 431053"/>
                <a:gd name="connsiteY22" fmla="*/ 82792 h 569315"/>
                <a:gd name="connsiteX23" fmla="*/ 216784 w 431053"/>
                <a:gd name="connsiteY23" fmla="*/ 32448 h 569315"/>
                <a:gd name="connsiteX24" fmla="*/ 235816 w 431053"/>
                <a:gd name="connsiteY24" fmla="*/ 82792 h 569315"/>
                <a:gd name="connsiteX25" fmla="*/ 229472 w 431053"/>
                <a:gd name="connsiteY25" fmla="*/ 209912 h 569315"/>
                <a:gd name="connsiteX26" fmla="*/ 254847 w 431053"/>
                <a:gd name="connsiteY26" fmla="*/ 322718 h 569315"/>
                <a:gd name="connsiteX27" fmla="*/ 270015 w 431053"/>
                <a:gd name="connsiteY27" fmla="*/ 352322 h 569315"/>
                <a:gd name="connsiteX28" fmla="*/ 285346 w 431053"/>
                <a:gd name="connsiteY28" fmla="*/ 349191 h 569315"/>
                <a:gd name="connsiteX29" fmla="*/ 305081 w 431053"/>
                <a:gd name="connsiteY29" fmla="*/ 319151 h 569315"/>
                <a:gd name="connsiteX30" fmla="*/ 280426 w 431053"/>
                <a:gd name="connsiteY30" fmla="*/ 298888 h 569315"/>
                <a:gd name="connsiteX31" fmla="*/ 274854 w 431053"/>
                <a:gd name="connsiteY31" fmla="*/ 299457 h 569315"/>
                <a:gd name="connsiteX32" fmla="*/ 287298 w 431053"/>
                <a:gd name="connsiteY32" fmla="*/ 195801 h 569315"/>
                <a:gd name="connsiteX33" fmla="*/ 350207 w 431053"/>
                <a:gd name="connsiteY33" fmla="*/ 82792 h 569315"/>
                <a:gd name="connsiteX34" fmla="*/ 369279 w 431053"/>
                <a:gd name="connsiteY34" fmla="*/ 70592 h 56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1053" h="569315">
                  <a:moveTo>
                    <a:pt x="1298" y="1298"/>
                  </a:moveTo>
                  <a:lnTo>
                    <a:pt x="1298" y="477368"/>
                  </a:lnTo>
                  <a:lnTo>
                    <a:pt x="216825" y="571549"/>
                  </a:lnTo>
                  <a:lnTo>
                    <a:pt x="432352" y="477368"/>
                  </a:lnTo>
                  <a:lnTo>
                    <a:pt x="432352" y="1298"/>
                  </a:lnTo>
                  <a:close/>
                  <a:moveTo>
                    <a:pt x="369483" y="438655"/>
                  </a:moveTo>
                  <a:lnTo>
                    <a:pt x="284329" y="438655"/>
                  </a:lnTo>
                  <a:cubicBezTo>
                    <a:pt x="278063" y="472492"/>
                    <a:pt x="259528" y="502829"/>
                    <a:pt x="232278" y="523849"/>
                  </a:cubicBezTo>
                  <a:cubicBezTo>
                    <a:pt x="225918" y="528261"/>
                    <a:pt x="220623" y="534039"/>
                    <a:pt x="216784" y="540766"/>
                  </a:cubicBezTo>
                  <a:cubicBezTo>
                    <a:pt x="212974" y="534035"/>
                    <a:pt x="207691" y="528253"/>
                    <a:pt x="201331" y="523849"/>
                  </a:cubicBezTo>
                  <a:cubicBezTo>
                    <a:pt x="174065" y="502841"/>
                    <a:pt x="155530" y="472501"/>
                    <a:pt x="149280" y="438655"/>
                  </a:cubicBezTo>
                  <a:lnTo>
                    <a:pt x="64492" y="438655"/>
                  </a:lnTo>
                  <a:lnTo>
                    <a:pt x="64492" y="70267"/>
                  </a:lnTo>
                  <a:cubicBezTo>
                    <a:pt x="71105" y="73894"/>
                    <a:pt x="77465" y="77973"/>
                    <a:pt x="83524" y="82466"/>
                  </a:cubicBezTo>
                  <a:cubicBezTo>
                    <a:pt x="119631" y="109468"/>
                    <a:pt x="142537" y="150565"/>
                    <a:pt x="146514" y="195476"/>
                  </a:cubicBezTo>
                  <a:lnTo>
                    <a:pt x="158714" y="299132"/>
                  </a:lnTo>
                  <a:lnTo>
                    <a:pt x="153224" y="298562"/>
                  </a:lnTo>
                  <a:cubicBezTo>
                    <a:pt x="139243" y="297192"/>
                    <a:pt x="126800" y="307415"/>
                    <a:pt x="125429" y="321396"/>
                  </a:cubicBezTo>
                  <a:cubicBezTo>
                    <a:pt x="124059" y="335377"/>
                    <a:pt x="134282" y="347820"/>
                    <a:pt x="148263" y="349191"/>
                  </a:cubicBezTo>
                  <a:lnTo>
                    <a:pt x="163594" y="352322"/>
                  </a:lnTo>
                  <a:cubicBezTo>
                    <a:pt x="168799" y="342522"/>
                    <a:pt x="173923" y="332681"/>
                    <a:pt x="178762" y="322718"/>
                  </a:cubicBezTo>
                  <a:cubicBezTo>
                    <a:pt x="193198" y="286485"/>
                    <a:pt x="205032" y="249520"/>
                    <a:pt x="204056" y="209912"/>
                  </a:cubicBezTo>
                  <a:cubicBezTo>
                    <a:pt x="203609" y="167538"/>
                    <a:pt x="198403" y="125206"/>
                    <a:pt x="197712" y="82792"/>
                  </a:cubicBezTo>
                  <a:cubicBezTo>
                    <a:pt x="197704" y="64244"/>
                    <a:pt x="204487" y="46334"/>
                    <a:pt x="216784" y="32448"/>
                  </a:cubicBezTo>
                  <a:cubicBezTo>
                    <a:pt x="229086" y="46328"/>
                    <a:pt x="235860" y="64244"/>
                    <a:pt x="235816" y="82792"/>
                  </a:cubicBezTo>
                  <a:cubicBezTo>
                    <a:pt x="235124" y="125206"/>
                    <a:pt x="230000" y="167538"/>
                    <a:pt x="229472" y="209912"/>
                  </a:cubicBezTo>
                  <a:cubicBezTo>
                    <a:pt x="228577" y="249357"/>
                    <a:pt x="240411" y="286485"/>
                    <a:pt x="254847" y="322718"/>
                  </a:cubicBezTo>
                  <a:cubicBezTo>
                    <a:pt x="259605" y="332681"/>
                    <a:pt x="264810" y="342522"/>
                    <a:pt x="270015" y="352322"/>
                  </a:cubicBezTo>
                  <a:lnTo>
                    <a:pt x="285346" y="349191"/>
                  </a:lnTo>
                  <a:cubicBezTo>
                    <a:pt x="299091" y="346344"/>
                    <a:pt x="307928" y="332896"/>
                    <a:pt x="305081" y="319151"/>
                  </a:cubicBezTo>
                  <a:cubicBezTo>
                    <a:pt x="302657" y="307436"/>
                    <a:pt x="292389" y="298998"/>
                    <a:pt x="280426" y="298888"/>
                  </a:cubicBezTo>
                  <a:lnTo>
                    <a:pt x="274854" y="299457"/>
                  </a:lnTo>
                  <a:lnTo>
                    <a:pt x="287298" y="195801"/>
                  </a:lnTo>
                  <a:cubicBezTo>
                    <a:pt x="291259" y="150902"/>
                    <a:pt x="314133" y="109810"/>
                    <a:pt x="350207" y="82792"/>
                  </a:cubicBezTo>
                  <a:cubicBezTo>
                    <a:pt x="356287" y="78306"/>
                    <a:pt x="362659" y="74232"/>
                    <a:pt x="369279" y="70592"/>
                  </a:cubicBezTo>
                  <a:close/>
                </a:path>
              </a:pathLst>
            </a:custGeom>
            <a:solidFill>
              <a:srgbClr val="FFD700"/>
            </a:solidFill>
            <a:ln w="4055"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C91CE401-3C5A-447C-9F73-0E55536AD261}"/>
                </a:ext>
              </a:extLst>
            </p:cNvPr>
            <p:cNvSpPr/>
            <p:nvPr/>
          </p:nvSpPr>
          <p:spPr>
            <a:xfrm>
              <a:off x="2011324" y="964864"/>
              <a:ext cx="20333" cy="813308"/>
            </a:xfrm>
            <a:custGeom>
              <a:avLst/>
              <a:gdLst>
                <a:gd name="connsiteX0" fmla="*/ 1298 w 20332"/>
                <a:gd name="connsiteY0" fmla="*/ 1298 h 813308"/>
                <a:gd name="connsiteX1" fmla="*/ 19069 w 20332"/>
                <a:gd name="connsiteY1" fmla="*/ 1298 h 813308"/>
                <a:gd name="connsiteX2" fmla="*/ 19069 w 20332"/>
                <a:gd name="connsiteY2" fmla="*/ 814606 h 813308"/>
                <a:gd name="connsiteX3" fmla="*/ 1298 w 20332"/>
                <a:gd name="connsiteY3" fmla="*/ 814606 h 813308"/>
              </a:gdLst>
              <a:ahLst/>
              <a:cxnLst>
                <a:cxn ang="0">
                  <a:pos x="connsiteX0" y="connsiteY0"/>
                </a:cxn>
                <a:cxn ang="0">
                  <a:pos x="connsiteX1" y="connsiteY1"/>
                </a:cxn>
                <a:cxn ang="0">
                  <a:pos x="connsiteX2" y="connsiteY2"/>
                </a:cxn>
                <a:cxn ang="0">
                  <a:pos x="connsiteX3" y="connsiteY3"/>
                </a:cxn>
              </a:cxnLst>
              <a:rect l="l" t="t" r="r" b="b"/>
              <a:pathLst>
                <a:path w="20332" h="813308">
                  <a:moveTo>
                    <a:pt x="1298" y="1298"/>
                  </a:moveTo>
                  <a:lnTo>
                    <a:pt x="19069" y="1298"/>
                  </a:lnTo>
                  <a:lnTo>
                    <a:pt x="19069" y="814606"/>
                  </a:lnTo>
                  <a:lnTo>
                    <a:pt x="1298" y="814606"/>
                  </a:lnTo>
                  <a:close/>
                </a:path>
              </a:pathLst>
            </a:custGeom>
            <a:solidFill>
              <a:srgbClr val="FFFFFF"/>
            </a:solidFill>
            <a:ln w="4055"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35F2EB89-6DED-48A4-9B8C-56FC7076E57B}"/>
                </a:ext>
              </a:extLst>
            </p:cNvPr>
            <p:cNvSpPr/>
            <p:nvPr/>
          </p:nvSpPr>
          <p:spPr>
            <a:xfrm>
              <a:off x="2232747" y="1016509"/>
              <a:ext cx="170795" cy="166728"/>
            </a:xfrm>
            <a:custGeom>
              <a:avLst/>
              <a:gdLst>
                <a:gd name="connsiteX0" fmla="*/ 170385 w 170794"/>
                <a:gd name="connsiteY0" fmla="*/ 167335 h 166728"/>
                <a:gd name="connsiteX1" fmla="*/ 156396 w 170794"/>
                <a:gd name="connsiteY1" fmla="*/ 167335 h 166728"/>
                <a:gd name="connsiteX2" fmla="*/ 156396 w 170794"/>
                <a:gd name="connsiteY2" fmla="*/ 15694 h 166728"/>
                <a:gd name="connsiteX3" fmla="*/ 92592 w 170794"/>
                <a:gd name="connsiteY3" fmla="*/ 167335 h 166728"/>
                <a:gd name="connsiteX4" fmla="*/ 78644 w 170794"/>
                <a:gd name="connsiteY4" fmla="*/ 167335 h 166728"/>
                <a:gd name="connsiteX5" fmla="*/ 15247 w 170794"/>
                <a:gd name="connsiteY5" fmla="*/ 16873 h 166728"/>
                <a:gd name="connsiteX6" fmla="*/ 15247 w 170794"/>
                <a:gd name="connsiteY6" fmla="*/ 167335 h 166728"/>
                <a:gd name="connsiteX7" fmla="*/ 1298 w 170794"/>
                <a:gd name="connsiteY7" fmla="*/ 167335 h 166728"/>
                <a:gd name="connsiteX8" fmla="*/ 1298 w 170794"/>
                <a:gd name="connsiteY8" fmla="*/ 1298 h 166728"/>
                <a:gd name="connsiteX9" fmla="*/ 23990 w 170794"/>
                <a:gd name="connsiteY9" fmla="*/ 1298 h 166728"/>
                <a:gd name="connsiteX10" fmla="*/ 86045 w 170794"/>
                <a:gd name="connsiteY10" fmla="*/ 148100 h 166728"/>
                <a:gd name="connsiteX11" fmla="*/ 147653 w 170794"/>
                <a:gd name="connsiteY11" fmla="*/ 1298 h 166728"/>
                <a:gd name="connsiteX12" fmla="*/ 170385 w 170794"/>
                <a:gd name="connsiteY12" fmla="*/ 1298 h 16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794" h="166728">
                  <a:moveTo>
                    <a:pt x="170385" y="167335"/>
                  </a:moveTo>
                  <a:lnTo>
                    <a:pt x="156396" y="167335"/>
                  </a:lnTo>
                  <a:lnTo>
                    <a:pt x="156396" y="15694"/>
                  </a:lnTo>
                  <a:lnTo>
                    <a:pt x="92592" y="167335"/>
                  </a:lnTo>
                  <a:lnTo>
                    <a:pt x="78644" y="167335"/>
                  </a:lnTo>
                  <a:lnTo>
                    <a:pt x="15247" y="16873"/>
                  </a:lnTo>
                  <a:lnTo>
                    <a:pt x="15247" y="167335"/>
                  </a:lnTo>
                  <a:lnTo>
                    <a:pt x="1298" y="167335"/>
                  </a:lnTo>
                  <a:lnTo>
                    <a:pt x="1298" y="1298"/>
                  </a:lnTo>
                  <a:lnTo>
                    <a:pt x="23990" y="1298"/>
                  </a:lnTo>
                  <a:lnTo>
                    <a:pt x="86045" y="148100"/>
                  </a:lnTo>
                  <a:lnTo>
                    <a:pt x="147653" y="1298"/>
                  </a:lnTo>
                  <a:lnTo>
                    <a:pt x="170385" y="1298"/>
                  </a:lnTo>
                  <a:close/>
                </a:path>
              </a:pathLst>
            </a:custGeom>
            <a:solidFill>
              <a:srgbClr val="FFFFFF"/>
            </a:solidFill>
            <a:ln w="4055"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15F5D1F2-E13F-4683-8D6F-CB5085552AF5}"/>
                </a:ext>
              </a:extLst>
            </p:cNvPr>
            <p:cNvSpPr/>
            <p:nvPr/>
          </p:nvSpPr>
          <p:spPr>
            <a:xfrm>
              <a:off x="2454699" y="1011710"/>
              <a:ext cx="16266" cy="170795"/>
            </a:xfrm>
            <a:custGeom>
              <a:avLst/>
              <a:gdLst>
                <a:gd name="connsiteX0" fmla="*/ 1298 w 16266"/>
                <a:gd name="connsiteY0" fmla="*/ 1298 h 170794"/>
                <a:gd name="connsiteX1" fmla="*/ 17930 w 16266"/>
                <a:gd name="connsiteY1" fmla="*/ 1298 h 170794"/>
                <a:gd name="connsiteX2" fmla="*/ 17930 w 16266"/>
                <a:gd name="connsiteY2" fmla="*/ 17890 h 170794"/>
                <a:gd name="connsiteX3" fmla="*/ 1298 w 16266"/>
                <a:gd name="connsiteY3" fmla="*/ 17890 h 170794"/>
                <a:gd name="connsiteX4" fmla="*/ 3047 w 16266"/>
                <a:gd name="connsiteY4" fmla="*/ 41028 h 170794"/>
                <a:gd name="connsiteX5" fmla="*/ 17036 w 16266"/>
                <a:gd name="connsiteY5" fmla="*/ 41028 h 170794"/>
                <a:gd name="connsiteX6" fmla="*/ 17036 w 16266"/>
                <a:gd name="connsiteY6" fmla="*/ 172134 h 170794"/>
                <a:gd name="connsiteX7" fmla="*/ 3047 w 16266"/>
                <a:gd name="connsiteY7" fmla="*/ 172134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6" h="170794">
                  <a:moveTo>
                    <a:pt x="1298" y="1298"/>
                  </a:moveTo>
                  <a:lnTo>
                    <a:pt x="17930" y="1298"/>
                  </a:lnTo>
                  <a:lnTo>
                    <a:pt x="17930" y="17890"/>
                  </a:lnTo>
                  <a:lnTo>
                    <a:pt x="1298" y="17890"/>
                  </a:lnTo>
                  <a:close/>
                  <a:moveTo>
                    <a:pt x="3047" y="41028"/>
                  </a:moveTo>
                  <a:lnTo>
                    <a:pt x="17036" y="41028"/>
                  </a:lnTo>
                  <a:lnTo>
                    <a:pt x="17036" y="172134"/>
                  </a:lnTo>
                  <a:lnTo>
                    <a:pt x="3047" y="172134"/>
                  </a:lnTo>
                  <a:close/>
                </a:path>
              </a:pathLst>
            </a:custGeom>
            <a:solidFill>
              <a:srgbClr val="FFFFFF"/>
            </a:solidFill>
            <a:ln w="4055"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EDDE329E-0BD9-42BF-B6B5-A4D606A410C3}"/>
                </a:ext>
              </a:extLst>
            </p:cNvPr>
            <p:cNvSpPr/>
            <p:nvPr/>
          </p:nvSpPr>
          <p:spPr>
            <a:xfrm>
              <a:off x="2520211" y="1051440"/>
              <a:ext cx="109797" cy="130129"/>
            </a:xfrm>
            <a:custGeom>
              <a:avLst/>
              <a:gdLst>
                <a:gd name="connsiteX0" fmla="*/ 110566 w 109796"/>
                <a:gd name="connsiteY0" fmla="*/ 1298 h 130129"/>
                <a:gd name="connsiteX1" fmla="*/ 110566 w 109796"/>
                <a:gd name="connsiteY1" fmla="*/ 132404 h 130129"/>
                <a:gd name="connsiteX2" fmla="*/ 96618 w 109796"/>
                <a:gd name="connsiteY2" fmla="*/ 132404 h 130129"/>
                <a:gd name="connsiteX3" fmla="*/ 96618 w 109796"/>
                <a:gd name="connsiteY3" fmla="*/ 71649 h 130129"/>
                <a:gd name="connsiteX4" fmla="*/ 15287 w 109796"/>
                <a:gd name="connsiteY4" fmla="*/ 71649 h 130129"/>
                <a:gd name="connsiteX5" fmla="*/ 15287 w 109796"/>
                <a:gd name="connsiteY5" fmla="*/ 132404 h 130129"/>
                <a:gd name="connsiteX6" fmla="*/ 1298 w 109796"/>
                <a:gd name="connsiteY6" fmla="*/ 132404 h 130129"/>
                <a:gd name="connsiteX7" fmla="*/ 1298 w 109796"/>
                <a:gd name="connsiteY7" fmla="*/ 1298 h 130129"/>
                <a:gd name="connsiteX8" fmla="*/ 15287 w 109796"/>
                <a:gd name="connsiteY8" fmla="*/ 1298 h 130129"/>
                <a:gd name="connsiteX9" fmla="*/ 15287 w 109796"/>
                <a:gd name="connsiteY9" fmla="*/ 59450 h 130129"/>
                <a:gd name="connsiteX10" fmla="*/ 96618 w 109796"/>
                <a:gd name="connsiteY10" fmla="*/ 59450 h 130129"/>
                <a:gd name="connsiteX11" fmla="*/ 96618 w 1097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796" h="130129">
                  <a:moveTo>
                    <a:pt x="110566" y="1298"/>
                  </a:moveTo>
                  <a:lnTo>
                    <a:pt x="110566" y="132404"/>
                  </a:lnTo>
                  <a:lnTo>
                    <a:pt x="96618" y="132404"/>
                  </a:lnTo>
                  <a:lnTo>
                    <a:pt x="96618" y="71649"/>
                  </a:lnTo>
                  <a:lnTo>
                    <a:pt x="15287" y="71649"/>
                  </a:lnTo>
                  <a:lnTo>
                    <a:pt x="15287" y="132404"/>
                  </a:lnTo>
                  <a:lnTo>
                    <a:pt x="1298" y="132404"/>
                  </a:lnTo>
                  <a:lnTo>
                    <a:pt x="1298" y="1298"/>
                  </a:lnTo>
                  <a:lnTo>
                    <a:pt x="15287" y="1298"/>
                  </a:lnTo>
                  <a:lnTo>
                    <a:pt x="15287" y="59450"/>
                  </a:lnTo>
                  <a:lnTo>
                    <a:pt x="96618" y="59450"/>
                  </a:lnTo>
                  <a:lnTo>
                    <a:pt x="96618" y="1298"/>
                  </a:lnTo>
                  <a:close/>
                </a:path>
              </a:pathLst>
            </a:custGeom>
            <a:solidFill>
              <a:srgbClr val="FFFFFF"/>
            </a:solidFill>
            <a:ln w="4055"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78EEC95-0706-4711-9F7B-6B9E46E82112}"/>
                </a:ext>
              </a:extLst>
            </p:cNvPr>
            <p:cNvSpPr/>
            <p:nvPr/>
          </p:nvSpPr>
          <p:spPr>
            <a:xfrm>
              <a:off x="2677993" y="1011710"/>
              <a:ext cx="16266" cy="170795"/>
            </a:xfrm>
            <a:custGeom>
              <a:avLst/>
              <a:gdLst>
                <a:gd name="connsiteX0" fmla="*/ 1298 w 16266"/>
                <a:gd name="connsiteY0" fmla="*/ 1298 h 170794"/>
                <a:gd name="connsiteX1" fmla="*/ 17930 w 16266"/>
                <a:gd name="connsiteY1" fmla="*/ 1298 h 170794"/>
                <a:gd name="connsiteX2" fmla="*/ 17930 w 16266"/>
                <a:gd name="connsiteY2" fmla="*/ 17890 h 170794"/>
                <a:gd name="connsiteX3" fmla="*/ 1298 w 16266"/>
                <a:gd name="connsiteY3" fmla="*/ 17890 h 170794"/>
                <a:gd name="connsiteX4" fmla="*/ 3047 w 16266"/>
                <a:gd name="connsiteY4" fmla="*/ 41028 h 170794"/>
                <a:gd name="connsiteX5" fmla="*/ 17036 w 16266"/>
                <a:gd name="connsiteY5" fmla="*/ 41028 h 170794"/>
                <a:gd name="connsiteX6" fmla="*/ 17036 w 16266"/>
                <a:gd name="connsiteY6" fmla="*/ 172134 h 170794"/>
                <a:gd name="connsiteX7" fmla="*/ 3047 w 16266"/>
                <a:gd name="connsiteY7" fmla="*/ 172134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6" h="170794">
                  <a:moveTo>
                    <a:pt x="1298" y="1298"/>
                  </a:moveTo>
                  <a:lnTo>
                    <a:pt x="17930" y="1298"/>
                  </a:lnTo>
                  <a:lnTo>
                    <a:pt x="17930" y="17890"/>
                  </a:lnTo>
                  <a:lnTo>
                    <a:pt x="1298" y="17890"/>
                  </a:lnTo>
                  <a:close/>
                  <a:moveTo>
                    <a:pt x="3047" y="41028"/>
                  </a:moveTo>
                  <a:lnTo>
                    <a:pt x="17036" y="41028"/>
                  </a:lnTo>
                  <a:lnTo>
                    <a:pt x="17036" y="172134"/>
                  </a:lnTo>
                  <a:lnTo>
                    <a:pt x="3047" y="172134"/>
                  </a:lnTo>
                  <a:close/>
                </a:path>
              </a:pathLst>
            </a:custGeom>
            <a:solidFill>
              <a:srgbClr val="FFFFFF"/>
            </a:solidFill>
            <a:ln w="4055"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A11CF718-9FFF-4789-AC91-EC963AAA5A66}"/>
                </a:ext>
              </a:extLst>
            </p:cNvPr>
            <p:cNvSpPr/>
            <p:nvPr/>
          </p:nvSpPr>
          <p:spPr>
            <a:xfrm>
              <a:off x="2732647" y="1049285"/>
              <a:ext cx="117930" cy="134196"/>
            </a:xfrm>
            <a:custGeom>
              <a:avLst/>
              <a:gdLst>
                <a:gd name="connsiteX0" fmla="*/ 1298 w 117929"/>
                <a:gd name="connsiteY0" fmla="*/ 69006 h 134195"/>
                <a:gd name="connsiteX1" fmla="*/ 64208 w 117929"/>
                <a:gd name="connsiteY1" fmla="*/ 1298 h 134195"/>
                <a:gd name="connsiteX2" fmla="*/ 120570 w 117929"/>
                <a:gd name="connsiteY2" fmla="*/ 41069 h 134195"/>
                <a:gd name="connsiteX3" fmla="*/ 107476 w 117929"/>
                <a:gd name="connsiteY3" fmla="*/ 45420 h 134195"/>
                <a:gd name="connsiteX4" fmla="*/ 64208 w 117929"/>
                <a:gd name="connsiteY4" fmla="*/ 13539 h 134195"/>
                <a:gd name="connsiteX5" fmla="*/ 15694 w 117929"/>
                <a:gd name="connsiteY5" fmla="*/ 69006 h 134195"/>
                <a:gd name="connsiteX6" fmla="*/ 64208 w 117929"/>
                <a:gd name="connsiteY6" fmla="*/ 124514 h 134195"/>
                <a:gd name="connsiteX7" fmla="*/ 107882 w 117929"/>
                <a:gd name="connsiteY7" fmla="*/ 92592 h 134195"/>
                <a:gd name="connsiteX8" fmla="*/ 120570 w 117929"/>
                <a:gd name="connsiteY8" fmla="*/ 96984 h 134195"/>
                <a:gd name="connsiteX9" fmla="*/ 64208 w 117929"/>
                <a:gd name="connsiteY9" fmla="*/ 136755 h 134195"/>
                <a:gd name="connsiteX10" fmla="*/ 1298 w 117929"/>
                <a:gd name="connsiteY10" fmla="*/ 69006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29" h="134195">
                  <a:moveTo>
                    <a:pt x="1298" y="69006"/>
                  </a:moveTo>
                  <a:cubicBezTo>
                    <a:pt x="1298" y="29683"/>
                    <a:pt x="27487" y="1298"/>
                    <a:pt x="64208" y="1298"/>
                  </a:cubicBezTo>
                  <a:cubicBezTo>
                    <a:pt x="92673" y="1298"/>
                    <a:pt x="113006" y="16588"/>
                    <a:pt x="120570" y="41069"/>
                  </a:cubicBezTo>
                  <a:lnTo>
                    <a:pt x="107476" y="45420"/>
                  </a:lnTo>
                  <a:cubicBezTo>
                    <a:pt x="101864" y="26273"/>
                    <a:pt x="84158" y="13227"/>
                    <a:pt x="64208" y="13539"/>
                  </a:cubicBezTo>
                  <a:cubicBezTo>
                    <a:pt x="35742" y="13539"/>
                    <a:pt x="15694" y="36230"/>
                    <a:pt x="15694" y="69006"/>
                  </a:cubicBezTo>
                  <a:cubicBezTo>
                    <a:pt x="15694" y="101783"/>
                    <a:pt x="35782" y="124514"/>
                    <a:pt x="64208" y="124514"/>
                  </a:cubicBezTo>
                  <a:cubicBezTo>
                    <a:pt x="84227" y="124714"/>
                    <a:pt x="101994" y="111728"/>
                    <a:pt x="107882" y="92592"/>
                  </a:cubicBezTo>
                  <a:lnTo>
                    <a:pt x="120570" y="96984"/>
                  </a:lnTo>
                  <a:cubicBezTo>
                    <a:pt x="113128" y="121383"/>
                    <a:pt x="92104" y="136755"/>
                    <a:pt x="64208" y="136755"/>
                  </a:cubicBezTo>
                  <a:cubicBezTo>
                    <a:pt x="27080" y="136755"/>
                    <a:pt x="1298" y="108777"/>
                    <a:pt x="1298" y="69006"/>
                  </a:cubicBezTo>
                  <a:close/>
                </a:path>
              </a:pathLst>
            </a:custGeom>
            <a:solidFill>
              <a:srgbClr val="FFFFFF"/>
            </a:solidFill>
            <a:ln w="4055"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D246687C-3CDD-4AEB-8A85-5419A6A1C9A7}"/>
                </a:ext>
              </a:extLst>
            </p:cNvPr>
            <p:cNvSpPr/>
            <p:nvPr/>
          </p:nvSpPr>
          <p:spPr>
            <a:xfrm>
              <a:off x="2864322" y="1051440"/>
              <a:ext cx="113863" cy="130129"/>
            </a:xfrm>
            <a:custGeom>
              <a:avLst/>
              <a:gdLst>
                <a:gd name="connsiteX0" fmla="*/ 114429 w 113863"/>
                <a:gd name="connsiteY0" fmla="*/ 13986 h 130129"/>
                <a:gd name="connsiteX1" fmla="*/ 65062 w 113863"/>
                <a:gd name="connsiteY1" fmla="*/ 13986 h 130129"/>
                <a:gd name="connsiteX2" fmla="*/ 65062 w 113863"/>
                <a:gd name="connsiteY2" fmla="*/ 132404 h 130129"/>
                <a:gd name="connsiteX3" fmla="*/ 51073 w 113863"/>
                <a:gd name="connsiteY3" fmla="*/ 132404 h 130129"/>
                <a:gd name="connsiteX4" fmla="*/ 51073 w 113863"/>
                <a:gd name="connsiteY4" fmla="*/ 13986 h 130129"/>
                <a:gd name="connsiteX5" fmla="*/ 1298 w 113863"/>
                <a:gd name="connsiteY5" fmla="*/ 13986 h 130129"/>
                <a:gd name="connsiteX6" fmla="*/ 1298 w 113863"/>
                <a:gd name="connsiteY6" fmla="*/ 1298 h 130129"/>
                <a:gd name="connsiteX7" fmla="*/ 114429 w 113863"/>
                <a:gd name="connsiteY7"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863" h="130129">
                  <a:moveTo>
                    <a:pt x="114429" y="13986"/>
                  </a:moveTo>
                  <a:lnTo>
                    <a:pt x="65062" y="13986"/>
                  </a:lnTo>
                  <a:lnTo>
                    <a:pt x="65062" y="132404"/>
                  </a:lnTo>
                  <a:lnTo>
                    <a:pt x="51073" y="132404"/>
                  </a:lnTo>
                  <a:lnTo>
                    <a:pt x="51073" y="13986"/>
                  </a:lnTo>
                  <a:lnTo>
                    <a:pt x="1298" y="13986"/>
                  </a:lnTo>
                  <a:lnTo>
                    <a:pt x="1298" y="1298"/>
                  </a:lnTo>
                  <a:lnTo>
                    <a:pt x="114429" y="1298"/>
                  </a:lnTo>
                  <a:close/>
                </a:path>
              </a:pathLst>
            </a:custGeom>
            <a:solidFill>
              <a:srgbClr val="FFFFFF"/>
            </a:solidFill>
            <a:ln w="4055"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7F343AEA-5CBD-47E0-B5F4-F81B364C2AC2}"/>
                </a:ext>
              </a:extLst>
            </p:cNvPr>
            <p:cNvSpPr/>
            <p:nvPr/>
          </p:nvSpPr>
          <p:spPr>
            <a:xfrm>
              <a:off x="2989856" y="1049244"/>
              <a:ext cx="121996" cy="134196"/>
            </a:xfrm>
            <a:custGeom>
              <a:avLst/>
              <a:gdLst>
                <a:gd name="connsiteX0" fmla="*/ 67705 w 121996"/>
                <a:gd name="connsiteY0" fmla="*/ 124311 h 134195"/>
                <a:gd name="connsiteX1" fmla="*/ 111420 w 121996"/>
                <a:gd name="connsiteY1" fmla="*/ 103978 h 134195"/>
                <a:gd name="connsiteX2" fmla="*/ 121017 w 121996"/>
                <a:gd name="connsiteY2" fmla="*/ 112722 h 134195"/>
                <a:gd name="connsiteX3" fmla="*/ 67705 w 121996"/>
                <a:gd name="connsiteY3" fmla="*/ 136755 h 134195"/>
                <a:gd name="connsiteX4" fmla="*/ 1298 w 121996"/>
                <a:gd name="connsiteY4" fmla="*/ 69006 h 134195"/>
                <a:gd name="connsiteX5" fmla="*/ 64208 w 121996"/>
                <a:gd name="connsiteY5" fmla="*/ 1298 h 134195"/>
                <a:gd name="connsiteX6" fmla="*/ 124514 w 121996"/>
                <a:gd name="connsiteY6" fmla="*/ 69006 h 134195"/>
                <a:gd name="connsiteX7" fmla="*/ 124514 w 121996"/>
                <a:gd name="connsiteY7" fmla="*/ 74293 h 134195"/>
                <a:gd name="connsiteX8" fmla="*/ 15734 w 121996"/>
                <a:gd name="connsiteY8" fmla="*/ 74293 h 134195"/>
                <a:gd name="connsiteX9" fmla="*/ 67705 w 121996"/>
                <a:gd name="connsiteY9" fmla="*/ 124311 h 134195"/>
                <a:gd name="connsiteX10" fmla="*/ 15978 w 121996"/>
                <a:gd name="connsiteY10" fmla="*/ 62500 h 134195"/>
                <a:gd name="connsiteX11" fmla="*/ 110363 w 121996"/>
                <a:gd name="connsiteY11" fmla="*/ 62500 h 134195"/>
                <a:gd name="connsiteX12" fmla="*/ 64045 w 121996"/>
                <a:gd name="connsiteY12" fmla="*/ 13701 h 134195"/>
                <a:gd name="connsiteX13" fmla="*/ 15978 w 121996"/>
                <a:gd name="connsiteY13" fmla="*/ 62500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6" h="134195">
                  <a:moveTo>
                    <a:pt x="67705" y="124311"/>
                  </a:moveTo>
                  <a:cubicBezTo>
                    <a:pt x="84634" y="124636"/>
                    <a:pt x="100762" y="117135"/>
                    <a:pt x="111420" y="103978"/>
                  </a:cubicBezTo>
                  <a:lnTo>
                    <a:pt x="121017" y="112722"/>
                  </a:lnTo>
                  <a:cubicBezTo>
                    <a:pt x="107545" y="128044"/>
                    <a:pt x="88111" y="136804"/>
                    <a:pt x="67705" y="136755"/>
                  </a:cubicBezTo>
                  <a:cubicBezTo>
                    <a:pt x="25331" y="136755"/>
                    <a:pt x="1298" y="107882"/>
                    <a:pt x="1298" y="69006"/>
                  </a:cubicBezTo>
                  <a:cubicBezTo>
                    <a:pt x="1298" y="29235"/>
                    <a:pt x="28381" y="1298"/>
                    <a:pt x="64208" y="1298"/>
                  </a:cubicBezTo>
                  <a:cubicBezTo>
                    <a:pt x="100806" y="1298"/>
                    <a:pt x="124514" y="27934"/>
                    <a:pt x="124514" y="69006"/>
                  </a:cubicBezTo>
                  <a:lnTo>
                    <a:pt x="124514" y="74293"/>
                  </a:lnTo>
                  <a:lnTo>
                    <a:pt x="15734" y="74293"/>
                  </a:lnTo>
                  <a:cubicBezTo>
                    <a:pt x="17890" y="105320"/>
                    <a:pt x="37125" y="124311"/>
                    <a:pt x="67705" y="124311"/>
                  </a:cubicBezTo>
                  <a:close/>
                  <a:moveTo>
                    <a:pt x="15978" y="62500"/>
                  </a:moveTo>
                  <a:lnTo>
                    <a:pt x="110363" y="62500"/>
                  </a:lnTo>
                  <a:cubicBezTo>
                    <a:pt x="108208" y="32367"/>
                    <a:pt x="90721" y="13701"/>
                    <a:pt x="64045" y="13701"/>
                  </a:cubicBezTo>
                  <a:cubicBezTo>
                    <a:pt x="37368" y="13701"/>
                    <a:pt x="18337" y="32773"/>
                    <a:pt x="15978" y="62500"/>
                  </a:cubicBezTo>
                  <a:close/>
                </a:path>
              </a:pathLst>
            </a:custGeom>
            <a:solidFill>
              <a:srgbClr val="FFFFFF"/>
            </a:solidFill>
            <a:ln w="4055"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B3318F24-D4B9-460F-994A-5BF9ED93D026}"/>
                </a:ext>
              </a:extLst>
            </p:cNvPr>
            <p:cNvSpPr/>
            <p:nvPr/>
          </p:nvSpPr>
          <p:spPr>
            <a:xfrm>
              <a:off x="3145848" y="1049199"/>
              <a:ext cx="121996" cy="178928"/>
            </a:xfrm>
            <a:custGeom>
              <a:avLst/>
              <a:gdLst>
                <a:gd name="connsiteX0" fmla="*/ 121912 w 121996"/>
                <a:gd name="connsiteY0" fmla="*/ 69093 h 178927"/>
                <a:gd name="connsiteX1" fmla="*/ 62052 w 121996"/>
                <a:gd name="connsiteY1" fmla="*/ 136841 h 178927"/>
                <a:gd name="connsiteX2" fmla="*/ 15287 w 121996"/>
                <a:gd name="connsiteY2" fmla="*/ 112808 h 178927"/>
                <a:gd name="connsiteX3" fmla="*/ 15287 w 121996"/>
                <a:gd name="connsiteY3" fmla="*/ 178320 h 178927"/>
                <a:gd name="connsiteX4" fmla="*/ 1298 w 121996"/>
                <a:gd name="connsiteY4" fmla="*/ 178320 h 178927"/>
                <a:gd name="connsiteX5" fmla="*/ 1298 w 121996"/>
                <a:gd name="connsiteY5" fmla="*/ 3459 h 178927"/>
                <a:gd name="connsiteX6" fmla="*/ 13091 w 121996"/>
                <a:gd name="connsiteY6" fmla="*/ 3459 h 178927"/>
                <a:gd name="connsiteX7" fmla="*/ 14840 w 121996"/>
                <a:gd name="connsiteY7" fmla="*/ 27085 h 178927"/>
                <a:gd name="connsiteX8" fmla="*/ 62052 w 121996"/>
                <a:gd name="connsiteY8" fmla="*/ 1303 h 178927"/>
                <a:gd name="connsiteX9" fmla="*/ 121912 w 121996"/>
                <a:gd name="connsiteY9" fmla="*/ 69093 h 178927"/>
                <a:gd name="connsiteX10" fmla="*/ 107476 w 121996"/>
                <a:gd name="connsiteY10" fmla="*/ 69093 h 178927"/>
                <a:gd name="connsiteX11" fmla="*/ 60710 w 121996"/>
                <a:gd name="connsiteY11" fmla="*/ 13625 h 178927"/>
                <a:gd name="connsiteX12" fmla="*/ 13986 w 121996"/>
                <a:gd name="connsiteY12" fmla="*/ 69093 h 178927"/>
                <a:gd name="connsiteX13" fmla="*/ 60710 w 121996"/>
                <a:gd name="connsiteY13" fmla="*/ 124601 h 178927"/>
                <a:gd name="connsiteX14" fmla="*/ 107476 w 121996"/>
                <a:gd name="connsiteY14" fmla="*/ 69093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96" h="178927">
                  <a:moveTo>
                    <a:pt x="121912" y="69093"/>
                  </a:moveTo>
                  <a:cubicBezTo>
                    <a:pt x="121912" y="108863"/>
                    <a:pt x="97513" y="136841"/>
                    <a:pt x="62052" y="136841"/>
                  </a:cubicBezTo>
                  <a:cubicBezTo>
                    <a:pt x="43424" y="137166"/>
                    <a:pt x="25868" y="128147"/>
                    <a:pt x="15287" y="112808"/>
                  </a:cubicBezTo>
                  <a:lnTo>
                    <a:pt x="15287" y="178320"/>
                  </a:lnTo>
                  <a:lnTo>
                    <a:pt x="1298" y="178320"/>
                  </a:lnTo>
                  <a:lnTo>
                    <a:pt x="1298" y="3459"/>
                  </a:lnTo>
                  <a:lnTo>
                    <a:pt x="13091" y="3459"/>
                  </a:lnTo>
                  <a:lnTo>
                    <a:pt x="14840" y="27085"/>
                  </a:lnTo>
                  <a:cubicBezTo>
                    <a:pt x="24982" y="10823"/>
                    <a:pt x="42887" y="1046"/>
                    <a:pt x="62052" y="1303"/>
                  </a:cubicBezTo>
                  <a:cubicBezTo>
                    <a:pt x="97431" y="1385"/>
                    <a:pt x="121912" y="29322"/>
                    <a:pt x="121912" y="69093"/>
                  </a:cubicBezTo>
                  <a:close/>
                  <a:moveTo>
                    <a:pt x="107476" y="69093"/>
                  </a:moveTo>
                  <a:cubicBezTo>
                    <a:pt x="107476" y="35869"/>
                    <a:pt x="88688" y="13625"/>
                    <a:pt x="60710" y="13625"/>
                  </a:cubicBezTo>
                  <a:cubicBezTo>
                    <a:pt x="32733" y="13625"/>
                    <a:pt x="13986" y="35869"/>
                    <a:pt x="13986" y="69093"/>
                  </a:cubicBezTo>
                  <a:cubicBezTo>
                    <a:pt x="13986" y="102316"/>
                    <a:pt x="32326" y="124601"/>
                    <a:pt x="60710" y="124601"/>
                  </a:cubicBezTo>
                  <a:cubicBezTo>
                    <a:pt x="89095" y="124601"/>
                    <a:pt x="107476" y="102316"/>
                    <a:pt x="107476" y="69093"/>
                  </a:cubicBezTo>
                  <a:close/>
                </a:path>
              </a:pathLst>
            </a:custGeom>
            <a:solidFill>
              <a:srgbClr val="FFFFFF"/>
            </a:solidFill>
            <a:ln w="4055"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86C60FC5-6D5A-4C64-8FEB-392EEA02E7EC}"/>
                </a:ext>
              </a:extLst>
            </p:cNvPr>
            <p:cNvSpPr/>
            <p:nvPr/>
          </p:nvSpPr>
          <p:spPr>
            <a:xfrm>
              <a:off x="3289763" y="1049285"/>
              <a:ext cx="117930" cy="134196"/>
            </a:xfrm>
            <a:custGeom>
              <a:avLst/>
              <a:gdLst>
                <a:gd name="connsiteX0" fmla="*/ 1298 w 117929"/>
                <a:gd name="connsiteY0" fmla="*/ 69006 h 134195"/>
                <a:gd name="connsiteX1" fmla="*/ 64208 w 117929"/>
                <a:gd name="connsiteY1" fmla="*/ 1298 h 134195"/>
                <a:gd name="connsiteX2" fmla="*/ 120570 w 117929"/>
                <a:gd name="connsiteY2" fmla="*/ 41069 h 134195"/>
                <a:gd name="connsiteX3" fmla="*/ 107476 w 117929"/>
                <a:gd name="connsiteY3" fmla="*/ 45420 h 134195"/>
                <a:gd name="connsiteX4" fmla="*/ 64208 w 117929"/>
                <a:gd name="connsiteY4" fmla="*/ 13539 h 134195"/>
                <a:gd name="connsiteX5" fmla="*/ 15734 w 117929"/>
                <a:gd name="connsiteY5" fmla="*/ 69006 h 134195"/>
                <a:gd name="connsiteX6" fmla="*/ 64208 w 117929"/>
                <a:gd name="connsiteY6" fmla="*/ 124514 h 134195"/>
                <a:gd name="connsiteX7" fmla="*/ 107923 w 117929"/>
                <a:gd name="connsiteY7" fmla="*/ 92592 h 134195"/>
                <a:gd name="connsiteX8" fmla="*/ 120570 w 117929"/>
                <a:gd name="connsiteY8" fmla="*/ 96984 h 134195"/>
                <a:gd name="connsiteX9" fmla="*/ 64208 w 117929"/>
                <a:gd name="connsiteY9" fmla="*/ 136755 h 134195"/>
                <a:gd name="connsiteX10" fmla="*/ 1298 w 117929"/>
                <a:gd name="connsiteY10" fmla="*/ 69006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29" h="134195">
                  <a:moveTo>
                    <a:pt x="1298" y="69006"/>
                  </a:moveTo>
                  <a:cubicBezTo>
                    <a:pt x="1298" y="29683"/>
                    <a:pt x="27528" y="1298"/>
                    <a:pt x="64208" y="1298"/>
                  </a:cubicBezTo>
                  <a:cubicBezTo>
                    <a:pt x="92673" y="1298"/>
                    <a:pt x="113006" y="16588"/>
                    <a:pt x="120570" y="41069"/>
                  </a:cubicBezTo>
                  <a:lnTo>
                    <a:pt x="107476" y="45420"/>
                  </a:lnTo>
                  <a:cubicBezTo>
                    <a:pt x="101888" y="26255"/>
                    <a:pt x="84166" y="13199"/>
                    <a:pt x="64208" y="13539"/>
                  </a:cubicBezTo>
                  <a:cubicBezTo>
                    <a:pt x="35742" y="13539"/>
                    <a:pt x="15734" y="36230"/>
                    <a:pt x="15734" y="69006"/>
                  </a:cubicBezTo>
                  <a:cubicBezTo>
                    <a:pt x="15734" y="101783"/>
                    <a:pt x="35823" y="124514"/>
                    <a:pt x="64208" y="124514"/>
                  </a:cubicBezTo>
                  <a:cubicBezTo>
                    <a:pt x="84235" y="124706"/>
                    <a:pt x="102010" y="111726"/>
                    <a:pt x="107923" y="92592"/>
                  </a:cubicBezTo>
                  <a:lnTo>
                    <a:pt x="120570" y="96984"/>
                  </a:lnTo>
                  <a:cubicBezTo>
                    <a:pt x="113169" y="121383"/>
                    <a:pt x="92104" y="136755"/>
                    <a:pt x="64208" y="136755"/>
                  </a:cubicBezTo>
                  <a:cubicBezTo>
                    <a:pt x="27080" y="136755"/>
                    <a:pt x="1298" y="108777"/>
                    <a:pt x="1298" y="69006"/>
                  </a:cubicBezTo>
                  <a:close/>
                </a:path>
              </a:pathLst>
            </a:custGeom>
            <a:solidFill>
              <a:srgbClr val="FFFFFF"/>
            </a:solidFill>
            <a:ln w="4055"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432D9BE1-3412-41F8-AC39-6E589ADC085D}"/>
                </a:ext>
              </a:extLst>
            </p:cNvPr>
            <p:cNvSpPr/>
            <p:nvPr/>
          </p:nvSpPr>
          <p:spPr>
            <a:xfrm>
              <a:off x="3418672" y="1051440"/>
              <a:ext cx="113863" cy="130129"/>
            </a:xfrm>
            <a:custGeom>
              <a:avLst/>
              <a:gdLst>
                <a:gd name="connsiteX0" fmla="*/ 114470 w 113863"/>
                <a:gd name="connsiteY0" fmla="*/ 13986 h 130129"/>
                <a:gd name="connsiteX1" fmla="*/ 65102 w 113863"/>
                <a:gd name="connsiteY1" fmla="*/ 13986 h 130129"/>
                <a:gd name="connsiteX2" fmla="*/ 65102 w 113863"/>
                <a:gd name="connsiteY2" fmla="*/ 132404 h 130129"/>
                <a:gd name="connsiteX3" fmla="*/ 51113 w 113863"/>
                <a:gd name="connsiteY3" fmla="*/ 132404 h 130129"/>
                <a:gd name="connsiteX4" fmla="*/ 51113 w 113863"/>
                <a:gd name="connsiteY4" fmla="*/ 13986 h 130129"/>
                <a:gd name="connsiteX5" fmla="*/ 1298 w 113863"/>
                <a:gd name="connsiteY5" fmla="*/ 13986 h 130129"/>
                <a:gd name="connsiteX6" fmla="*/ 1298 w 113863"/>
                <a:gd name="connsiteY6" fmla="*/ 1298 h 130129"/>
                <a:gd name="connsiteX7" fmla="*/ 114470 w 113863"/>
                <a:gd name="connsiteY7"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863" h="130129">
                  <a:moveTo>
                    <a:pt x="114470" y="13986"/>
                  </a:moveTo>
                  <a:lnTo>
                    <a:pt x="65102" y="13986"/>
                  </a:lnTo>
                  <a:lnTo>
                    <a:pt x="65102" y="132404"/>
                  </a:lnTo>
                  <a:lnTo>
                    <a:pt x="51113" y="132404"/>
                  </a:lnTo>
                  <a:lnTo>
                    <a:pt x="51113" y="13986"/>
                  </a:lnTo>
                  <a:lnTo>
                    <a:pt x="1298" y="13986"/>
                  </a:lnTo>
                  <a:lnTo>
                    <a:pt x="1298" y="1298"/>
                  </a:lnTo>
                  <a:lnTo>
                    <a:pt x="114470" y="1298"/>
                  </a:lnTo>
                  <a:close/>
                </a:path>
              </a:pathLst>
            </a:custGeom>
            <a:solidFill>
              <a:srgbClr val="FFFFFF"/>
            </a:solidFill>
            <a:ln w="4055" cap="flat">
              <a:noFill/>
              <a:prstDash val="solid"/>
              <a:miter/>
            </a:ln>
          </p:spPr>
          <p:txBody>
            <a:bodyPr rtlCol="0" anchor="ctr"/>
            <a:lstStyle/>
            <a:p>
              <a:endParaRPr lang="uk-UA"/>
            </a:p>
          </p:txBody>
        </p:sp>
        <p:sp>
          <p:nvSpPr>
            <p:cNvPr id="46" name="Freeform: Shape 45">
              <a:extLst>
                <a:ext uri="{FF2B5EF4-FFF2-40B4-BE49-F238E27FC236}">
                  <a16:creationId xmlns:a16="http://schemas.microsoft.com/office/drawing/2014/main" id="{B644AE66-6B6A-416A-ADB1-ACAA1C69C3E5}"/>
                </a:ext>
              </a:extLst>
            </p:cNvPr>
            <p:cNvSpPr/>
            <p:nvPr/>
          </p:nvSpPr>
          <p:spPr>
            <a:xfrm>
              <a:off x="3558073" y="1051440"/>
              <a:ext cx="101663" cy="130129"/>
            </a:xfrm>
            <a:custGeom>
              <a:avLst/>
              <a:gdLst>
                <a:gd name="connsiteX0" fmla="*/ 103084 w 101663"/>
                <a:gd name="connsiteY0" fmla="*/ 96130 h 130129"/>
                <a:gd name="connsiteX1" fmla="*/ 57213 w 101663"/>
                <a:gd name="connsiteY1" fmla="*/ 132404 h 130129"/>
                <a:gd name="connsiteX2" fmla="*/ 1298 w 101663"/>
                <a:gd name="connsiteY2" fmla="*/ 132404 h 130129"/>
                <a:gd name="connsiteX3" fmla="*/ 1298 w 101663"/>
                <a:gd name="connsiteY3" fmla="*/ 1298 h 130129"/>
                <a:gd name="connsiteX4" fmla="*/ 54611 w 101663"/>
                <a:gd name="connsiteY4" fmla="*/ 1298 h 130129"/>
                <a:gd name="connsiteX5" fmla="*/ 98407 w 101663"/>
                <a:gd name="connsiteY5" fmla="*/ 36718 h 130129"/>
                <a:gd name="connsiteX6" fmla="*/ 79620 w 101663"/>
                <a:gd name="connsiteY6" fmla="*/ 63801 h 130129"/>
                <a:gd name="connsiteX7" fmla="*/ 103084 w 101663"/>
                <a:gd name="connsiteY7" fmla="*/ 96130 h 130129"/>
                <a:gd name="connsiteX8" fmla="*/ 14840 w 101663"/>
                <a:gd name="connsiteY8" fmla="*/ 59531 h 130129"/>
                <a:gd name="connsiteX9" fmla="*/ 59857 w 101663"/>
                <a:gd name="connsiteY9" fmla="*/ 59531 h 130129"/>
                <a:gd name="connsiteX10" fmla="*/ 85191 w 101663"/>
                <a:gd name="connsiteY10" fmla="*/ 36799 h 130129"/>
                <a:gd name="connsiteX11" fmla="*/ 58108 w 101663"/>
                <a:gd name="connsiteY11" fmla="*/ 13213 h 130129"/>
                <a:gd name="connsiteX12" fmla="*/ 14840 w 101663"/>
                <a:gd name="connsiteY12" fmla="*/ 13213 h 130129"/>
                <a:gd name="connsiteX13" fmla="*/ 89135 w 101663"/>
                <a:gd name="connsiteY13" fmla="*/ 95764 h 130129"/>
                <a:gd name="connsiteX14" fmla="*/ 62012 w 101663"/>
                <a:gd name="connsiteY14" fmla="*/ 70877 h 130129"/>
                <a:gd name="connsiteX15" fmla="*/ 14840 w 101663"/>
                <a:gd name="connsiteY15" fmla="*/ 70877 h 130129"/>
                <a:gd name="connsiteX16" fmla="*/ 14840 w 101663"/>
                <a:gd name="connsiteY16" fmla="*/ 120692 h 130129"/>
                <a:gd name="connsiteX17" fmla="*/ 58555 w 101663"/>
                <a:gd name="connsiteY17" fmla="*/ 120692 h 130129"/>
                <a:gd name="connsiteX18" fmla="*/ 89135 w 101663"/>
                <a:gd name="connsiteY18" fmla="*/ 95683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663" h="130129">
                  <a:moveTo>
                    <a:pt x="103084" y="96130"/>
                  </a:moveTo>
                  <a:cubicBezTo>
                    <a:pt x="103084" y="118415"/>
                    <a:pt x="85638" y="132404"/>
                    <a:pt x="57213" y="132404"/>
                  </a:cubicBezTo>
                  <a:lnTo>
                    <a:pt x="1298" y="132404"/>
                  </a:lnTo>
                  <a:lnTo>
                    <a:pt x="1298" y="1298"/>
                  </a:lnTo>
                  <a:lnTo>
                    <a:pt x="54611" y="1298"/>
                  </a:lnTo>
                  <a:cubicBezTo>
                    <a:pt x="82548" y="1298"/>
                    <a:pt x="98407" y="13986"/>
                    <a:pt x="98407" y="36718"/>
                  </a:cubicBezTo>
                  <a:cubicBezTo>
                    <a:pt x="98627" y="48849"/>
                    <a:pt x="91059" y="59759"/>
                    <a:pt x="79620" y="63801"/>
                  </a:cubicBezTo>
                  <a:cubicBezTo>
                    <a:pt x="95683" y="69250"/>
                    <a:pt x="103084" y="79539"/>
                    <a:pt x="103084" y="96130"/>
                  </a:cubicBezTo>
                  <a:close/>
                  <a:moveTo>
                    <a:pt x="14840" y="59531"/>
                  </a:moveTo>
                  <a:lnTo>
                    <a:pt x="59857" y="59531"/>
                  </a:lnTo>
                  <a:cubicBezTo>
                    <a:pt x="75594" y="59531"/>
                    <a:pt x="85191" y="50788"/>
                    <a:pt x="85191" y="36799"/>
                  </a:cubicBezTo>
                  <a:cubicBezTo>
                    <a:pt x="85191" y="22810"/>
                    <a:pt x="74252" y="13213"/>
                    <a:pt x="58108" y="13213"/>
                  </a:cubicBezTo>
                  <a:lnTo>
                    <a:pt x="14840" y="13213"/>
                  </a:lnTo>
                  <a:close/>
                  <a:moveTo>
                    <a:pt x="89135" y="95764"/>
                  </a:moveTo>
                  <a:cubicBezTo>
                    <a:pt x="89135" y="80921"/>
                    <a:pt x="78197" y="70877"/>
                    <a:pt x="62012" y="70877"/>
                  </a:cubicBezTo>
                  <a:lnTo>
                    <a:pt x="14840" y="70877"/>
                  </a:lnTo>
                  <a:lnTo>
                    <a:pt x="14840" y="120692"/>
                  </a:lnTo>
                  <a:lnTo>
                    <a:pt x="58555" y="120692"/>
                  </a:lnTo>
                  <a:cubicBezTo>
                    <a:pt x="78075" y="120611"/>
                    <a:pt x="89135" y="111420"/>
                    <a:pt x="89135" y="95683"/>
                  </a:cubicBezTo>
                  <a:close/>
                </a:path>
              </a:pathLst>
            </a:custGeom>
            <a:solidFill>
              <a:srgbClr val="FFFFFF"/>
            </a:solidFill>
            <a:ln w="4055" cap="flat">
              <a:noFill/>
              <a:prstDash val="solid"/>
              <a:miter/>
            </a:ln>
          </p:spPr>
          <p:txBody>
            <a:bodyPr rtlCol="0" anchor="ctr"/>
            <a:lstStyle/>
            <a:p>
              <a:endParaRPr lang="uk-UA"/>
            </a:p>
          </p:txBody>
        </p:sp>
        <p:sp>
          <p:nvSpPr>
            <p:cNvPr id="47" name="Freeform: Shape 46">
              <a:extLst>
                <a:ext uri="{FF2B5EF4-FFF2-40B4-BE49-F238E27FC236}">
                  <a16:creationId xmlns:a16="http://schemas.microsoft.com/office/drawing/2014/main" id="{FD8A2A21-DD71-47CB-B6E8-23FC379A96CC}"/>
                </a:ext>
              </a:extLst>
            </p:cNvPr>
            <p:cNvSpPr/>
            <p:nvPr/>
          </p:nvSpPr>
          <p:spPr>
            <a:xfrm>
              <a:off x="3685234" y="1049285"/>
              <a:ext cx="126063" cy="134196"/>
            </a:xfrm>
            <a:custGeom>
              <a:avLst/>
              <a:gdLst>
                <a:gd name="connsiteX0" fmla="*/ 1298 w 126062"/>
                <a:gd name="connsiteY0" fmla="*/ 69006 h 134195"/>
                <a:gd name="connsiteX1" fmla="*/ 64655 w 126062"/>
                <a:gd name="connsiteY1" fmla="*/ 1298 h 134195"/>
                <a:gd name="connsiteX2" fmla="*/ 128012 w 126062"/>
                <a:gd name="connsiteY2" fmla="*/ 69006 h 134195"/>
                <a:gd name="connsiteX3" fmla="*/ 64655 w 126062"/>
                <a:gd name="connsiteY3" fmla="*/ 136755 h 134195"/>
                <a:gd name="connsiteX4" fmla="*/ 1298 w 126062"/>
                <a:gd name="connsiteY4" fmla="*/ 69006 h 134195"/>
                <a:gd name="connsiteX5" fmla="*/ 113575 w 126062"/>
                <a:gd name="connsiteY5" fmla="*/ 69006 h 134195"/>
                <a:gd name="connsiteX6" fmla="*/ 64777 w 126062"/>
                <a:gd name="connsiteY6" fmla="*/ 13539 h 134195"/>
                <a:gd name="connsiteX7" fmla="*/ 15978 w 126062"/>
                <a:gd name="connsiteY7" fmla="*/ 69006 h 134195"/>
                <a:gd name="connsiteX8" fmla="*/ 64777 w 126062"/>
                <a:gd name="connsiteY8" fmla="*/ 124514 h 134195"/>
                <a:gd name="connsiteX9" fmla="*/ 113575 w 126062"/>
                <a:gd name="connsiteY9" fmla="*/ 69006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062" h="134195">
                  <a:moveTo>
                    <a:pt x="1298" y="69006"/>
                  </a:moveTo>
                  <a:cubicBezTo>
                    <a:pt x="1298" y="29235"/>
                    <a:pt x="27080" y="1298"/>
                    <a:pt x="64655" y="1298"/>
                  </a:cubicBezTo>
                  <a:cubicBezTo>
                    <a:pt x="102230" y="1298"/>
                    <a:pt x="128012" y="28381"/>
                    <a:pt x="128012" y="69006"/>
                  </a:cubicBezTo>
                  <a:cubicBezTo>
                    <a:pt x="128012" y="108777"/>
                    <a:pt x="102230" y="136755"/>
                    <a:pt x="64655" y="136755"/>
                  </a:cubicBezTo>
                  <a:cubicBezTo>
                    <a:pt x="27080" y="136755"/>
                    <a:pt x="1298" y="109631"/>
                    <a:pt x="1298" y="69006"/>
                  </a:cubicBezTo>
                  <a:close/>
                  <a:moveTo>
                    <a:pt x="113575" y="69006"/>
                  </a:moveTo>
                  <a:cubicBezTo>
                    <a:pt x="113575" y="35376"/>
                    <a:pt x="94341" y="13539"/>
                    <a:pt x="64777" y="13539"/>
                  </a:cubicBezTo>
                  <a:cubicBezTo>
                    <a:pt x="35213" y="13539"/>
                    <a:pt x="15978" y="35783"/>
                    <a:pt x="15978" y="69006"/>
                  </a:cubicBezTo>
                  <a:cubicBezTo>
                    <a:pt x="15978" y="102230"/>
                    <a:pt x="35661" y="124514"/>
                    <a:pt x="64777" y="124514"/>
                  </a:cubicBezTo>
                  <a:cubicBezTo>
                    <a:pt x="93893" y="124514"/>
                    <a:pt x="113575" y="102230"/>
                    <a:pt x="113575" y="69006"/>
                  </a:cubicBezTo>
                  <a:close/>
                </a:path>
              </a:pathLst>
            </a:custGeom>
            <a:solidFill>
              <a:srgbClr val="FFFFFF"/>
            </a:solidFill>
            <a:ln w="4055" cap="flat">
              <a:noFill/>
              <a:prstDash val="solid"/>
              <a:miter/>
            </a:ln>
          </p:spPr>
          <p:txBody>
            <a:bodyPr rtlCol="0" anchor="ctr"/>
            <a:lstStyle/>
            <a:p>
              <a:endParaRPr lang="uk-UA"/>
            </a:p>
          </p:txBody>
        </p:sp>
        <p:sp>
          <p:nvSpPr>
            <p:cNvPr id="48" name="Freeform: Shape 47">
              <a:extLst>
                <a:ext uri="{FF2B5EF4-FFF2-40B4-BE49-F238E27FC236}">
                  <a16:creationId xmlns:a16="http://schemas.microsoft.com/office/drawing/2014/main" id="{29283823-5D1A-438E-8A89-5A09718252F3}"/>
                </a:ext>
              </a:extLst>
            </p:cNvPr>
            <p:cNvSpPr/>
            <p:nvPr/>
          </p:nvSpPr>
          <p:spPr>
            <a:xfrm>
              <a:off x="2211723" y="1278272"/>
              <a:ext cx="211460" cy="219593"/>
            </a:xfrm>
            <a:custGeom>
              <a:avLst/>
              <a:gdLst>
                <a:gd name="connsiteX0" fmla="*/ 211457 w 211460"/>
                <a:gd name="connsiteY0" fmla="*/ 110810 h 219593"/>
                <a:gd name="connsiteX1" fmla="*/ 158592 w 211460"/>
                <a:gd name="connsiteY1" fmla="*/ 178071 h 219593"/>
                <a:gd name="connsiteX2" fmla="*/ 124067 w 211460"/>
                <a:gd name="connsiteY2" fmla="*/ 163228 h 219593"/>
                <a:gd name="connsiteX3" fmla="*/ 124067 w 211460"/>
                <a:gd name="connsiteY3" fmla="*/ 220159 h 219593"/>
                <a:gd name="connsiteX4" fmla="*/ 89095 w 211460"/>
                <a:gd name="connsiteY4" fmla="*/ 220159 h 219593"/>
                <a:gd name="connsiteX5" fmla="*/ 89095 w 211460"/>
                <a:gd name="connsiteY5" fmla="*/ 162252 h 219593"/>
                <a:gd name="connsiteX6" fmla="*/ 54163 w 211460"/>
                <a:gd name="connsiteY6" fmla="*/ 177949 h 219593"/>
                <a:gd name="connsiteX7" fmla="*/ 1298 w 211460"/>
                <a:gd name="connsiteY7" fmla="*/ 110688 h 219593"/>
                <a:gd name="connsiteX8" fmla="*/ 54163 w 211460"/>
                <a:gd name="connsiteY8" fmla="*/ 43387 h 219593"/>
                <a:gd name="connsiteX9" fmla="*/ 89095 w 211460"/>
                <a:gd name="connsiteY9" fmla="*/ 58230 h 219593"/>
                <a:gd name="connsiteX10" fmla="*/ 89095 w 211460"/>
                <a:gd name="connsiteY10" fmla="*/ 1298 h 219593"/>
                <a:gd name="connsiteX11" fmla="*/ 124067 w 211460"/>
                <a:gd name="connsiteY11" fmla="*/ 1298 h 219593"/>
                <a:gd name="connsiteX12" fmla="*/ 124067 w 211460"/>
                <a:gd name="connsiteY12" fmla="*/ 58230 h 219593"/>
                <a:gd name="connsiteX13" fmla="*/ 158592 w 211460"/>
                <a:gd name="connsiteY13" fmla="*/ 43387 h 219593"/>
                <a:gd name="connsiteX14" fmla="*/ 211457 w 211460"/>
                <a:gd name="connsiteY14" fmla="*/ 110810 h 219593"/>
                <a:gd name="connsiteX15" fmla="*/ 90599 w 211460"/>
                <a:gd name="connsiteY15" fmla="*/ 110810 h 219593"/>
                <a:gd name="connsiteX16" fmla="*/ 63923 w 211460"/>
                <a:gd name="connsiteY16" fmla="*/ 71893 h 219593"/>
                <a:gd name="connsiteX17" fmla="*/ 36840 w 211460"/>
                <a:gd name="connsiteY17" fmla="*/ 110810 h 219593"/>
                <a:gd name="connsiteX18" fmla="*/ 63923 w 211460"/>
                <a:gd name="connsiteY18" fmla="*/ 149686 h 219593"/>
                <a:gd name="connsiteX19" fmla="*/ 90599 w 211460"/>
                <a:gd name="connsiteY19" fmla="*/ 110810 h 219593"/>
                <a:gd name="connsiteX20" fmla="*/ 175997 w 211460"/>
                <a:gd name="connsiteY20" fmla="*/ 110810 h 219593"/>
                <a:gd name="connsiteX21" fmla="*/ 149361 w 211460"/>
                <a:gd name="connsiteY21" fmla="*/ 71893 h 219593"/>
                <a:gd name="connsiteX22" fmla="*/ 122278 w 211460"/>
                <a:gd name="connsiteY22" fmla="*/ 110810 h 219593"/>
                <a:gd name="connsiteX23" fmla="*/ 149361 w 211460"/>
                <a:gd name="connsiteY23" fmla="*/ 149686 h 219593"/>
                <a:gd name="connsiteX24" fmla="*/ 175997 w 211460"/>
                <a:gd name="connsiteY24" fmla="*/ 110810 h 21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1460" h="219593">
                  <a:moveTo>
                    <a:pt x="211457" y="110810"/>
                  </a:moveTo>
                  <a:cubicBezTo>
                    <a:pt x="211457" y="151476"/>
                    <a:pt x="190474" y="178071"/>
                    <a:pt x="158592" y="178071"/>
                  </a:cubicBezTo>
                  <a:cubicBezTo>
                    <a:pt x="145461" y="178433"/>
                    <a:pt x="132839" y="173004"/>
                    <a:pt x="124067" y="163228"/>
                  </a:cubicBezTo>
                  <a:lnTo>
                    <a:pt x="124067" y="220159"/>
                  </a:lnTo>
                  <a:lnTo>
                    <a:pt x="89095" y="220159"/>
                  </a:lnTo>
                  <a:lnTo>
                    <a:pt x="89095" y="162252"/>
                  </a:lnTo>
                  <a:cubicBezTo>
                    <a:pt x="80506" y="172609"/>
                    <a:pt x="67607" y="178404"/>
                    <a:pt x="54163" y="177949"/>
                  </a:cubicBezTo>
                  <a:cubicBezTo>
                    <a:pt x="21631" y="177949"/>
                    <a:pt x="1298" y="151760"/>
                    <a:pt x="1298" y="110688"/>
                  </a:cubicBezTo>
                  <a:cubicBezTo>
                    <a:pt x="1298" y="69616"/>
                    <a:pt x="22241" y="43387"/>
                    <a:pt x="54163" y="43387"/>
                  </a:cubicBezTo>
                  <a:cubicBezTo>
                    <a:pt x="67453" y="42805"/>
                    <a:pt x="80291" y="48263"/>
                    <a:pt x="89095" y="58230"/>
                  </a:cubicBezTo>
                  <a:lnTo>
                    <a:pt x="89095" y="1298"/>
                  </a:lnTo>
                  <a:lnTo>
                    <a:pt x="124067" y="1298"/>
                  </a:lnTo>
                  <a:lnTo>
                    <a:pt x="124067" y="58230"/>
                  </a:lnTo>
                  <a:cubicBezTo>
                    <a:pt x="132879" y="48511"/>
                    <a:pt x="145477" y="43098"/>
                    <a:pt x="158592" y="43387"/>
                  </a:cubicBezTo>
                  <a:cubicBezTo>
                    <a:pt x="190921" y="43387"/>
                    <a:pt x="211457" y="69616"/>
                    <a:pt x="211457" y="110810"/>
                  </a:cubicBezTo>
                  <a:close/>
                  <a:moveTo>
                    <a:pt x="90599" y="110810"/>
                  </a:moveTo>
                  <a:cubicBezTo>
                    <a:pt x="90599" y="86777"/>
                    <a:pt x="80514" y="71893"/>
                    <a:pt x="63923" y="71893"/>
                  </a:cubicBezTo>
                  <a:cubicBezTo>
                    <a:pt x="47331" y="71893"/>
                    <a:pt x="36840" y="86777"/>
                    <a:pt x="36840" y="110810"/>
                  </a:cubicBezTo>
                  <a:cubicBezTo>
                    <a:pt x="36840" y="134843"/>
                    <a:pt x="47331" y="149686"/>
                    <a:pt x="63923" y="149686"/>
                  </a:cubicBezTo>
                  <a:cubicBezTo>
                    <a:pt x="80514" y="149686"/>
                    <a:pt x="90599" y="134722"/>
                    <a:pt x="90599" y="110810"/>
                  </a:cubicBezTo>
                  <a:close/>
                  <a:moveTo>
                    <a:pt x="175997" y="110810"/>
                  </a:moveTo>
                  <a:cubicBezTo>
                    <a:pt x="175997" y="86777"/>
                    <a:pt x="165952" y="71893"/>
                    <a:pt x="149361" y="71893"/>
                  </a:cubicBezTo>
                  <a:cubicBezTo>
                    <a:pt x="132769" y="71893"/>
                    <a:pt x="122278" y="86777"/>
                    <a:pt x="122278" y="110810"/>
                  </a:cubicBezTo>
                  <a:cubicBezTo>
                    <a:pt x="122278" y="134843"/>
                    <a:pt x="132322" y="149686"/>
                    <a:pt x="149361" y="149686"/>
                  </a:cubicBezTo>
                  <a:cubicBezTo>
                    <a:pt x="166400" y="149686"/>
                    <a:pt x="175997" y="134722"/>
                    <a:pt x="175997" y="110810"/>
                  </a:cubicBezTo>
                  <a:close/>
                </a:path>
              </a:pathLst>
            </a:custGeom>
            <a:solidFill>
              <a:srgbClr val="FFFFFF"/>
            </a:solidFill>
            <a:ln w="4055" cap="flat">
              <a:noFill/>
              <a:prstDash val="solid"/>
              <a:miter/>
            </a:ln>
          </p:spPr>
          <p:txBody>
            <a:bodyPr rtlCol="0" anchor="ctr"/>
            <a:lstStyle/>
            <a:p>
              <a:endParaRPr lang="uk-UA"/>
            </a:p>
          </p:txBody>
        </p:sp>
        <p:sp>
          <p:nvSpPr>
            <p:cNvPr id="49" name="Freeform: Shape 48">
              <a:extLst>
                <a:ext uri="{FF2B5EF4-FFF2-40B4-BE49-F238E27FC236}">
                  <a16:creationId xmlns:a16="http://schemas.microsoft.com/office/drawing/2014/main" id="{536D60F3-EE32-4CCD-84B4-249822D6252D}"/>
                </a:ext>
              </a:extLst>
            </p:cNvPr>
            <p:cNvSpPr/>
            <p:nvPr/>
          </p:nvSpPr>
          <p:spPr>
            <a:xfrm>
              <a:off x="2444655" y="1275791"/>
              <a:ext cx="36599" cy="178928"/>
            </a:xfrm>
            <a:custGeom>
              <a:avLst/>
              <a:gdLst>
                <a:gd name="connsiteX0" fmla="*/ 1298 w 36598"/>
                <a:gd name="connsiteY0" fmla="*/ 1298 h 178927"/>
                <a:gd name="connsiteX1" fmla="*/ 38873 w 36598"/>
                <a:gd name="connsiteY1" fmla="*/ 1298 h 178927"/>
                <a:gd name="connsiteX2" fmla="*/ 38873 w 36598"/>
                <a:gd name="connsiteY2" fmla="*/ 31025 h 178927"/>
                <a:gd name="connsiteX3" fmla="*/ 1298 w 36598"/>
                <a:gd name="connsiteY3" fmla="*/ 31025 h 178927"/>
                <a:gd name="connsiteX4" fmla="*/ 2640 w 36598"/>
                <a:gd name="connsiteY4" fmla="*/ 47616 h 178927"/>
                <a:gd name="connsiteX5" fmla="*/ 37572 w 36598"/>
                <a:gd name="connsiteY5" fmla="*/ 47616 h 178927"/>
                <a:gd name="connsiteX6" fmla="*/ 37572 w 36598"/>
                <a:gd name="connsiteY6" fmla="*/ 178681 h 178927"/>
                <a:gd name="connsiteX7" fmla="*/ 2640 w 36598"/>
                <a:gd name="connsiteY7" fmla="*/ 178681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8" h="178927">
                  <a:moveTo>
                    <a:pt x="1298" y="1298"/>
                  </a:moveTo>
                  <a:lnTo>
                    <a:pt x="38873" y="1298"/>
                  </a:lnTo>
                  <a:lnTo>
                    <a:pt x="38873" y="31025"/>
                  </a:lnTo>
                  <a:lnTo>
                    <a:pt x="1298" y="31025"/>
                  </a:lnTo>
                  <a:close/>
                  <a:moveTo>
                    <a:pt x="2640" y="47616"/>
                  </a:moveTo>
                  <a:lnTo>
                    <a:pt x="37572" y="47616"/>
                  </a:lnTo>
                  <a:lnTo>
                    <a:pt x="37572" y="178681"/>
                  </a:lnTo>
                  <a:lnTo>
                    <a:pt x="2640" y="178681"/>
                  </a:lnTo>
                  <a:close/>
                </a:path>
              </a:pathLst>
            </a:custGeom>
            <a:solidFill>
              <a:srgbClr val="FFFFFF"/>
            </a:solidFill>
            <a:ln w="4055" cap="flat">
              <a:noFill/>
              <a:prstDash val="solid"/>
              <a:miter/>
            </a:ln>
          </p:spPr>
          <p:txBody>
            <a:bodyPr rtlCol="0" anchor="ctr"/>
            <a:lstStyle/>
            <a:p>
              <a:endParaRPr lang="uk-UA"/>
            </a:p>
          </p:txBody>
        </p:sp>
        <p:sp>
          <p:nvSpPr>
            <p:cNvPr id="50" name="Freeform: Shape 49">
              <a:extLst>
                <a:ext uri="{FF2B5EF4-FFF2-40B4-BE49-F238E27FC236}">
                  <a16:creationId xmlns:a16="http://schemas.microsoft.com/office/drawing/2014/main" id="{65D46A41-FFD7-4B4E-A87F-42867E9FDF5B}"/>
                </a:ext>
              </a:extLst>
            </p:cNvPr>
            <p:cNvSpPr/>
            <p:nvPr/>
          </p:nvSpPr>
          <p:spPr>
            <a:xfrm>
              <a:off x="2514152" y="1322109"/>
              <a:ext cx="121996" cy="130129"/>
            </a:xfrm>
            <a:custGeom>
              <a:avLst/>
              <a:gdLst>
                <a:gd name="connsiteX0" fmla="*/ 122766 w 121996"/>
                <a:gd name="connsiteY0" fmla="*/ 1298 h 130129"/>
                <a:gd name="connsiteX1" fmla="*/ 122766 w 121996"/>
                <a:gd name="connsiteY1" fmla="*/ 132363 h 130129"/>
                <a:gd name="connsiteX2" fmla="*/ 87794 w 121996"/>
                <a:gd name="connsiteY2" fmla="*/ 132363 h 130129"/>
                <a:gd name="connsiteX3" fmla="*/ 87794 w 121996"/>
                <a:gd name="connsiteY3" fmla="*/ 81246 h 130129"/>
                <a:gd name="connsiteX4" fmla="*/ 36230 w 121996"/>
                <a:gd name="connsiteY4" fmla="*/ 81246 h 130129"/>
                <a:gd name="connsiteX5" fmla="*/ 36230 w 121996"/>
                <a:gd name="connsiteY5" fmla="*/ 132363 h 130129"/>
                <a:gd name="connsiteX6" fmla="*/ 1298 w 121996"/>
                <a:gd name="connsiteY6" fmla="*/ 132363 h 130129"/>
                <a:gd name="connsiteX7" fmla="*/ 1298 w 121996"/>
                <a:gd name="connsiteY7" fmla="*/ 1298 h 130129"/>
                <a:gd name="connsiteX8" fmla="*/ 36230 w 121996"/>
                <a:gd name="connsiteY8" fmla="*/ 1298 h 130129"/>
                <a:gd name="connsiteX9" fmla="*/ 36230 w 121996"/>
                <a:gd name="connsiteY9" fmla="*/ 49812 h 130129"/>
                <a:gd name="connsiteX10" fmla="*/ 87794 w 121996"/>
                <a:gd name="connsiteY10" fmla="*/ 49812 h 130129"/>
                <a:gd name="connsiteX11" fmla="*/ 87794 w 1219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96" h="130129">
                  <a:moveTo>
                    <a:pt x="122766" y="1298"/>
                  </a:moveTo>
                  <a:lnTo>
                    <a:pt x="122766" y="132363"/>
                  </a:lnTo>
                  <a:lnTo>
                    <a:pt x="87794" y="132363"/>
                  </a:lnTo>
                  <a:lnTo>
                    <a:pt x="87794" y="81246"/>
                  </a:lnTo>
                  <a:lnTo>
                    <a:pt x="36230" y="81246"/>
                  </a:lnTo>
                  <a:lnTo>
                    <a:pt x="36230" y="132363"/>
                  </a:lnTo>
                  <a:lnTo>
                    <a:pt x="1298" y="132363"/>
                  </a:lnTo>
                  <a:lnTo>
                    <a:pt x="1298" y="1298"/>
                  </a:lnTo>
                  <a:lnTo>
                    <a:pt x="36230" y="1298"/>
                  </a:lnTo>
                  <a:lnTo>
                    <a:pt x="36230" y="49812"/>
                  </a:lnTo>
                  <a:lnTo>
                    <a:pt x="87794" y="49812"/>
                  </a:lnTo>
                  <a:lnTo>
                    <a:pt x="87794" y="1298"/>
                  </a:lnTo>
                  <a:close/>
                </a:path>
              </a:pathLst>
            </a:custGeom>
            <a:solidFill>
              <a:srgbClr val="FFFFFF"/>
            </a:solidFill>
            <a:ln w="4055" cap="flat">
              <a:noFill/>
              <a:prstDash val="solid"/>
              <a:miter/>
            </a:ln>
          </p:spPr>
          <p:txBody>
            <a:bodyPr rtlCol="0" anchor="ctr"/>
            <a:lstStyle/>
            <a:p>
              <a:endParaRPr lang="uk-UA"/>
            </a:p>
          </p:txBody>
        </p:sp>
        <p:sp>
          <p:nvSpPr>
            <p:cNvPr id="51" name="Freeform: Shape 50">
              <a:extLst>
                <a:ext uri="{FF2B5EF4-FFF2-40B4-BE49-F238E27FC236}">
                  <a16:creationId xmlns:a16="http://schemas.microsoft.com/office/drawing/2014/main" id="{63A4B2AA-C48F-4405-8685-46BFCAEF5D3D}"/>
                </a:ext>
              </a:extLst>
            </p:cNvPr>
            <p:cNvSpPr/>
            <p:nvPr/>
          </p:nvSpPr>
          <p:spPr>
            <a:xfrm>
              <a:off x="2664614" y="1319876"/>
              <a:ext cx="130129" cy="134196"/>
            </a:xfrm>
            <a:custGeom>
              <a:avLst/>
              <a:gdLst>
                <a:gd name="connsiteX0" fmla="*/ 129760 w 130129"/>
                <a:gd name="connsiteY0" fmla="*/ 104463 h 134195"/>
                <a:gd name="connsiteX1" fmla="*/ 129760 w 130129"/>
                <a:gd name="connsiteY1" fmla="*/ 134596 h 134195"/>
                <a:gd name="connsiteX2" fmla="*/ 117113 w 130129"/>
                <a:gd name="connsiteY2" fmla="*/ 135491 h 134195"/>
                <a:gd name="connsiteX3" fmla="*/ 89583 w 130129"/>
                <a:gd name="connsiteY3" fmla="*/ 115809 h 134195"/>
                <a:gd name="connsiteX4" fmla="*/ 44119 w 130129"/>
                <a:gd name="connsiteY4" fmla="*/ 136792 h 134195"/>
                <a:gd name="connsiteX5" fmla="*/ 1298 w 130129"/>
                <a:gd name="connsiteY5" fmla="*/ 98770 h 134195"/>
                <a:gd name="connsiteX6" fmla="*/ 57660 w 130129"/>
                <a:gd name="connsiteY6" fmla="*/ 55543 h 134195"/>
                <a:gd name="connsiteX7" fmla="*/ 84337 w 130129"/>
                <a:gd name="connsiteY7" fmla="*/ 43750 h 134195"/>
                <a:gd name="connsiteX8" fmla="*/ 60751 w 130129"/>
                <a:gd name="connsiteY8" fmla="*/ 29761 h 134195"/>
                <a:gd name="connsiteX9" fmla="*/ 24925 w 130129"/>
                <a:gd name="connsiteY9" fmla="*/ 45051 h 134195"/>
                <a:gd name="connsiteX10" fmla="*/ 3942 w 130129"/>
                <a:gd name="connsiteY10" fmla="*/ 23621 h 134195"/>
                <a:gd name="connsiteX11" fmla="*/ 62906 w 130129"/>
                <a:gd name="connsiteY11" fmla="*/ 1336 h 134195"/>
                <a:gd name="connsiteX12" fmla="*/ 117113 w 130129"/>
                <a:gd name="connsiteY12" fmla="*/ 45499 h 134195"/>
                <a:gd name="connsiteX13" fmla="*/ 117113 w 130129"/>
                <a:gd name="connsiteY13" fmla="*/ 97022 h 134195"/>
                <a:gd name="connsiteX14" fmla="*/ 122912 w 130129"/>
                <a:gd name="connsiteY14" fmla="*/ 104459 h 134195"/>
                <a:gd name="connsiteX15" fmla="*/ 124514 w 130129"/>
                <a:gd name="connsiteY15" fmla="*/ 104463 h 134195"/>
                <a:gd name="connsiteX16" fmla="*/ 83442 w 130129"/>
                <a:gd name="connsiteY16" fmla="*/ 83480 h 134195"/>
                <a:gd name="connsiteX17" fmla="*/ 83442 w 130129"/>
                <a:gd name="connsiteY17" fmla="*/ 72134 h 134195"/>
                <a:gd name="connsiteX18" fmla="*/ 61158 w 130129"/>
                <a:gd name="connsiteY18" fmla="*/ 78234 h 134195"/>
                <a:gd name="connsiteX19" fmla="*/ 34969 w 130129"/>
                <a:gd name="connsiteY19" fmla="*/ 95273 h 134195"/>
                <a:gd name="connsiteX20" fmla="*/ 52008 w 130129"/>
                <a:gd name="connsiteY20" fmla="*/ 109262 h 134195"/>
                <a:gd name="connsiteX21" fmla="*/ 83402 w 130129"/>
                <a:gd name="connsiteY21" fmla="*/ 83480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129" h="134195">
                  <a:moveTo>
                    <a:pt x="129760" y="104463"/>
                  </a:moveTo>
                  <a:lnTo>
                    <a:pt x="129760" y="134596"/>
                  </a:lnTo>
                  <a:cubicBezTo>
                    <a:pt x="125580" y="135276"/>
                    <a:pt x="121347" y="135577"/>
                    <a:pt x="117113" y="135491"/>
                  </a:cubicBezTo>
                  <a:cubicBezTo>
                    <a:pt x="100847" y="135491"/>
                    <a:pt x="92185" y="129351"/>
                    <a:pt x="89583" y="115809"/>
                  </a:cubicBezTo>
                  <a:cubicBezTo>
                    <a:pt x="80392" y="128944"/>
                    <a:pt x="63354" y="136792"/>
                    <a:pt x="44119" y="136792"/>
                  </a:cubicBezTo>
                  <a:cubicBezTo>
                    <a:pt x="18337" y="136792"/>
                    <a:pt x="1298" y="121502"/>
                    <a:pt x="1298" y="98770"/>
                  </a:cubicBezTo>
                  <a:cubicBezTo>
                    <a:pt x="1298" y="64693"/>
                    <a:pt x="33221" y="58593"/>
                    <a:pt x="57660" y="55543"/>
                  </a:cubicBezTo>
                  <a:cubicBezTo>
                    <a:pt x="72544" y="53794"/>
                    <a:pt x="84337" y="51476"/>
                    <a:pt x="84337" y="43750"/>
                  </a:cubicBezTo>
                  <a:cubicBezTo>
                    <a:pt x="84337" y="36024"/>
                    <a:pt x="75594" y="29761"/>
                    <a:pt x="60751" y="29761"/>
                  </a:cubicBezTo>
                  <a:cubicBezTo>
                    <a:pt x="47226" y="29765"/>
                    <a:pt x="34286" y="35287"/>
                    <a:pt x="24925" y="45051"/>
                  </a:cubicBezTo>
                  <a:lnTo>
                    <a:pt x="3942" y="23621"/>
                  </a:lnTo>
                  <a:cubicBezTo>
                    <a:pt x="19878" y="8688"/>
                    <a:pt x="41077" y="677"/>
                    <a:pt x="62906" y="1336"/>
                  </a:cubicBezTo>
                  <a:cubicBezTo>
                    <a:pt x="97025" y="1336"/>
                    <a:pt x="117113" y="17968"/>
                    <a:pt x="117113" y="45499"/>
                  </a:cubicBezTo>
                  <a:lnTo>
                    <a:pt x="117113" y="97022"/>
                  </a:lnTo>
                  <a:cubicBezTo>
                    <a:pt x="116662" y="100677"/>
                    <a:pt x="119256" y="104008"/>
                    <a:pt x="122912" y="104459"/>
                  </a:cubicBezTo>
                  <a:cubicBezTo>
                    <a:pt x="123445" y="104524"/>
                    <a:pt x="123982" y="104524"/>
                    <a:pt x="124514" y="104463"/>
                  </a:cubicBezTo>
                  <a:close/>
                  <a:moveTo>
                    <a:pt x="83442" y="83480"/>
                  </a:moveTo>
                  <a:lnTo>
                    <a:pt x="83442" y="72134"/>
                  </a:lnTo>
                  <a:cubicBezTo>
                    <a:pt x="76387" y="75343"/>
                    <a:pt x="68864" y="77405"/>
                    <a:pt x="61158" y="78234"/>
                  </a:cubicBezTo>
                  <a:cubicBezTo>
                    <a:pt x="47616" y="80430"/>
                    <a:pt x="34969" y="82626"/>
                    <a:pt x="34969" y="95273"/>
                  </a:cubicBezTo>
                  <a:cubicBezTo>
                    <a:pt x="34969" y="104016"/>
                    <a:pt x="41069" y="109262"/>
                    <a:pt x="52008" y="109262"/>
                  </a:cubicBezTo>
                  <a:cubicBezTo>
                    <a:pt x="69454" y="109262"/>
                    <a:pt x="83402" y="97916"/>
                    <a:pt x="83402" y="83480"/>
                  </a:cubicBezTo>
                  <a:close/>
                </a:path>
              </a:pathLst>
            </a:custGeom>
            <a:solidFill>
              <a:srgbClr val="FFFFFF"/>
            </a:solidFill>
            <a:ln w="4055" cap="flat">
              <a:noFill/>
              <a:prstDash val="solid"/>
              <a:miter/>
            </a:ln>
          </p:spPr>
          <p:txBody>
            <a:bodyPr rtlCol="0" anchor="ctr"/>
            <a:lstStyle/>
            <a:p>
              <a:endParaRPr lang="uk-UA"/>
            </a:p>
          </p:txBody>
        </p:sp>
        <p:sp>
          <p:nvSpPr>
            <p:cNvPr id="52" name="Freeform: Shape 51">
              <a:extLst>
                <a:ext uri="{FF2B5EF4-FFF2-40B4-BE49-F238E27FC236}">
                  <a16:creationId xmlns:a16="http://schemas.microsoft.com/office/drawing/2014/main" id="{D2716468-43EA-494A-81B4-92BAD43C9511}"/>
                </a:ext>
              </a:extLst>
            </p:cNvPr>
            <p:cNvSpPr/>
            <p:nvPr/>
          </p:nvSpPr>
          <p:spPr>
            <a:xfrm>
              <a:off x="2822192" y="1322109"/>
              <a:ext cx="121996" cy="130129"/>
            </a:xfrm>
            <a:custGeom>
              <a:avLst/>
              <a:gdLst>
                <a:gd name="connsiteX0" fmla="*/ 122644 w 121996"/>
                <a:gd name="connsiteY0" fmla="*/ 1298 h 130129"/>
                <a:gd name="connsiteX1" fmla="*/ 122644 w 121996"/>
                <a:gd name="connsiteY1" fmla="*/ 132363 h 130129"/>
                <a:gd name="connsiteX2" fmla="*/ 87672 w 121996"/>
                <a:gd name="connsiteY2" fmla="*/ 132363 h 130129"/>
                <a:gd name="connsiteX3" fmla="*/ 87672 w 121996"/>
                <a:gd name="connsiteY3" fmla="*/ 81246 h 130129"/>
                <a:gd name="connsiteX4" fmla="*/ 36230 w 121996"/>
                <a:gd name="connsiteY4" fmla="*/ 81246 h 130129"/>
                <a:gd name="connsiteX5" fmla="*/ 36230 w 121996"/>
                <a:gd name="connsiteY5" fmla="*/ 132363 h 130129"/>
                <a:gd name="connsiteX6" fmla="*/ 1298 w 121996"/>
                <a:gd name="connsiteY6" fmla="*/ 132363 h 130129"/>
                <a:gd name="connsiteX7" fmla="*/ 1298 w 121996"/>
                <a:gd name="connsiteY7" fmla="*/ 1298 h 130129"/>
                <a:gd name="connsiteX8" fmla="*/ 36230 w 121996"/>
                <a:gd name="connsiteY8" fmla="*/ 1298 h 130129"/>
                <a:gd name="connsiteX9" fmla="*/ 36230 w 121996"/>
                <a:gd name="connsiteY9" fmla="*/ 49812 h 130129"/>
                <a:gd name="connsiteX10" fmla="*/ 87794 w 121996"/>
                <a:gd name="connsiteY10" fmla="*/ 49812 h 130129"/>
                <a:gd name="connsiteX11" fmla="*/ 87794 w 1219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96" h="130129">
                  <a:moveTo>
                    <a:pt x="122644" y="1298"/>
                  </a:moveTo>
                  <a:lnTo>
                    <a:pt x="122644" y="132363"/>
                  </a:lnTo>
                  <a:lnTo>
                    <a:pt x="87672" y="132363"/>
                  </a:lnTo>
                  <a:lnTo>
                    <a:pt x="87672" y="81246"/>
                  </a:lnTo>
                  <a:lnTo>
                    <a:pt x="36230" y="81246"/>
                  </a:lnTo>
                  <a:lnTo>
                    <a:pt x="36230" y="132363"/>
                  </a:lnTo>
                  <a:lnTo>
                    <a:pt x="1298" y="132363"/>
                  </a:lnTo>
                  <a:lnTo>
                    <a:pt x="1298" y="1298"/>
                  </a:lnTo>
                  <a:lnTo>
                    <a:pt x="36230" y="1298"/>
                  </a:lnTo>
                  <a:lnTo>
                    <a:pt x="36230" y="49812"/>
                  </a:lnTo>
                  <a:lnTo>
                    <a:pt x="87794" y="49812"/>
                  </a:lnTo>
                  <a:lnTo>
                    <a:pt x="87794" y="1298"/>
                  </a:lnTo>
                  <a:close/>
                </a:path>
              </a:pathLst>
            </a:custGeom>
            <a:solidFill>
              <a:srgbClr val="FFFFFF"/>
            </a:solidFill>
            <a:ln w="4055" cap="flat">
              <a:noFill/>
              <a:prstDash val="solid"/>
              <a:miter/>
            </a:ln>
          </p:spPr>
          <p:txBody>
            <a:bodyPr rtlCol="0" anchor="ctr"/>
            <a:lstStyle/>
            <a:p>
              <a:endParaRPr lang="uk-UA"/>
            </a:p>
          </p:txBody>
        </p:sp>
        <p:sp>
          <p:nvSpPr>
            <p:cNvPr id="53" name="Freeform: Shape 52">
              <a:extLst>
                <a:ext uri="{FF2B5EF4-FFF2-40B4-BE49-F238E27FC236}">
                  <a16:creationId xmlns:a16="http://schemas.microsoft.com/office/drawing/2014/main" id="{D9C2DF01-2C59-428D-A718-9D912224CFE3}"/>
                </a:ext>
              </a:extLst>
            </p:cNvPr>
            <p:cNvSpPr/>
            <p:nvPr/>
          </p:nvSpPr>
          <p:spPr>
            <a:xfrm>
              <a:off x="2970336" y="1320035"/>
              <a:ext cx="130129" cy="134196"/>
            </a:xfrm>
            <a:custGeom>
              <a:avLst/>
              <a:gdLst>
                <a:gd name="connsiteX0" fmla="*/ 1298 w 130129"/>
                <a:gd name="connsiteY0" fmla="*/ 69047 h 134195"/>
                <a:gd name="connsiteX1" fmla="*/ 69006 w 130129"/>
                <a:gd name="connsiteY1" fmla="*/ 1298 h 134195"/>
                <a:gd name="connsiteX2" fmla="*/ 129760 w 130129"/>
                <a:gd name="connsiteY2" fmla="*/ 40622 h 134195"/>
                <a:gd name="connsiteX3" fmla="*/ 96496 w 130129"/>
                <a:gd name="connsiteY3" fmla="*/ 50544 h 134195"/>
                <a:gd name="connsiteX4" fmla="*/ 68518 w 130129"/>
                <a:gd name="connsiteY4" fmla="*/ 30211 h 134195"/>
                <a:gd name="connsiteX5" fmla="*/ 37084 w 130129"/>
                <a:gd name="connsiteY5" fmla="*/ 69128 h 134195"/>
                <a:gd name="connsiteX6" fmla="*/ 68518 w 130129"/>
                <a:gd name="connsiteY6" fmla="*/ 108004 h 134195"/>
                <a:gd name="connsiteX7" fmla="*/ 96496 w 130129"/>
                <a:gd name="connsiteY7" fmla="*/ 87468 h 134195"/>
                <a:gd name="connsiteX8" fmla="*/ 129719 w 130129"/>
                <a:gd name="connsiteY8" fmla="*/ 97513 h 134195"/>
                <a:gd name="connsiteX9" fmla="*/ 68965 w 130129"/>
                <a:gd name="connsiteY9" fmla="*/ 136836 h 134195"/>
                <a:gd name="connsiteX10" fmla="*/ 1298 w 130129"/>
                <a:gd name="connsiteY10" fmla="*/ 69047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129" h="134195">
                  <a:moveTo>
                    <a:pt x="1298" y="69047"/>
                  </a:moveTo>
                  <a:cubicBezTo>
                    <a:pt x="1298" y="28381"/>
                    <a:pt x="28381" y="1298"/>
                    <a:pt x="69006" y="1298"/>
                  </a:cubicBezTo>
                  <a:cubicBezTo>
                    <a:pt x="99180" y="1298"/>
                    <a:pt x="122318" y="15735"/>
                    <a:pt x="129760" y="40622"/>
                  </a:cubicBezTo>
                  <a:lnTo>
                    <a:pt x="96496" y="50544"/>
                  </a:lnTo>
                  <a:cubicBezTo>
                    <a:pt x="91697" y="37450"/>
                    <a:pt x="82060" y="30211"/>
                    <a:pt x="68518" y="30211"/>
                  </a:cubicBezTo>
                  <a:cubicBezTo>
                    <a:pt x="49324" y="30211"/>
                    <a:pt x="37084" y="45095"/>
                    <a:pt x="37084" y="69128"/>
                  </a:cubicBezTo>
                  <a:cubicBezTo>
                    <a:pt x="37084" y="93161"/>
                    <a:pt x="49283" y="108004"/>
                    <a:pt x="68518" y="108004"/>
                  </a:cubicBezTo>
                  <a:cubicBezTo>
                    <a:pt x="82060" y="108004"/>
                    <a:pt x="91697" y="100563"/>
                    <a:pt x="96496" y="87468"/>
                  </a:cubicBezTo>
                  <a:lnTo>
                    <a:pt x="129719" y="97513"/>
                  </a:lnTo>
                  <a:cubicBezTo>
                    <a:pt x="122278" y="122441"/>
                    <a:pt x="99139" y="136836"/>
                    <a:pt x="68965" y="136836"/>
                  </a:cubicBezTo>
                  <a:cubicBezTo>
                    <a:pt x="28381" y="136633"/>
                    <a:pt x="1298" y="109712"/>
                    <a:pt x="1298" y="69047"/>
                  </a:cubicBezTo>
                  <a:close/>
                </a:path>
              </a:pathLst>
            </a:custGeom>
            <a:solidFill>
              <a:srgbClr val="FFFFFF"/>
            </a:solidFill>
            <a:ln w="4055" cap="flat">
              <a:noFill/>
              <a:prstDash val="solid"/>
              <a:miter/>
            </a:ln>
          </p:spPr>
          <p:txBody>
            <a:bodyPr rtlCol="0" anchor="ctr"/>
            <a:lstStyle/>
            <a:p>
              <a:endParaRPr lang="uk-UA"/>
            </a:p>
          </p:txBody>
        </p:sp>
        <p:sp>
          <p:nvSpPr>
            <p:cNvPr id="54" name="Freeform: Shape 53">
              <a:extLst>
                <a:ext uri="{FF2B5EF4-FFF2-40B4-BE49-F238E27FC236}">
                  <a16:creationId xmlns:a16="http://schemas.microsoft.com/office/drawing/2014/main" id="{F9D8ECA4-9F45-44BA-AB39-EA411C87F77B}"/>
                </a:ext>
              </a:extLst>
            </p:cNvPr>
            <p:cNvSpPr/>
            <p:nvPr/>
          </p:nvSpPr>
          <p:spPr>
            <a:xfrm>
              <a:off x="3122466" y="1275791"/>
              <a:ext cx="36599" cy="178928"/>
            </a:xfrm>
            <a:custGeom>
              <a:avLst/>
              <a:gdLst>
                <a:gd name="connsiteX0" fmla="*/ 1298 w 36598"/>
                <a:gd name="connsiteY0" fmla="*/ 1298 h 178927"/>
                <a:gd name="connsiteX1" fmla="*/ 38873 w 36598"/>
                <a:gd name="connsiteY1" fmla="*/ 1298 h 178927"/>
                <a:gd name="connsiteX2" fmla="*/ 38873 w 36598"/>
                <a:gd name="connsiteY2" fmla="*/ 31025 h 178927"/>
                <a:gd name="connsiteX3" fmla="*/ 1298 w 36598"/>
                <a:gd name="connsiteY3" fmla="*/ 31025 h 178927"/>
                <a:gd name="connsiteX4" fmla="*/ 2600 w 36598"/>
                <a:gd name="connsiteY4" fmla="*/ 47616 h 178927"/>
                <a:gd name="connsiteX5" fmla="*/ 37572 w 36598"/>
                <a:gd name="connsiteY5" fmla="*/ 47616 h 178927"/>
                <a:gd name="connsiteX6" fmla="*/ 37572 w 36598"/>
                <a:gd name="connsiteY6" fmla="*/ 178681 h 178927"/>
                <a:gd name="connsiteX7" fmla="*/ 2600 w 36598"/>
                <a:gd name="connsiteY7" fmla="*/ 178681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8" h="178927">
                  <a:moveTo>
                    <a:pt x="1298" y="1298"/>
                  </a:moveTo>
                  <a:lnTo>
                    <a:pt x="38873" y="1298"/>
                  </a:lnTo>
                  <a:lnTo>
                    <a:pt x="38873" y="31025"/>
                  </a:lnTo>
                  <a:lnTo>
                    <a:pt x="1298" y="31025"/>
                  </a:lnTo>
                  <a:close/>
                  <a:moveTo>
                    <a:pt x="2600" y="47616"/>
                  </a:moveTo>
                  <a:lnTo>
                    <a:pt x="37572" y="47616"/>
                  </a:lnTo>
                  <a:lnTo>
                    <a:pt x="37572" y="178681"/>
                  </a:lnTo>
                  <a:lnTo>
                    <a:pt x="2600" y="178681"/>
                  </a:lnTo>
                  <a:close/>
                </a:path>
              </a:pathLst>
            </a:custGeom>
            <a:solidFill>
              <a:srgbClr val="FFFFFF"/>
            </a:solidFill>
            <a:ln w="4055" cap="flat">
              <a:noFill/>
              <a:prstDash val="solid"/>
              <a:miter/>
            </a:ln>
          </p:spPr>
          <p:txBody>
            <a:bodyPr rtlCol="0" anchor="ctr"/>
            <a:lstStyle/>
            <a:p>
              <a:endParaRPr lang="uk-UA"/>
            </a:p>
          </p:txBody>
        </p:sp>
        <p:sp>
          <p:nvSpPr>
            <p:cNvPr id="55" name="Freeform: Shape 54">
              <a:extLst>
                <a:ext uri="{FF2B5EF4-FFF2-40B4-BE49-F238E27FC236}">
                  <a16:creationId xmlns:a16="http://schemas.microsoft.com/office/drawing/2014/main" id="{7E75FB7B-3AB7-4704-A36D-16B74B53BCF2}"/>
                </a:ext>
              </a:extLst>
            </p:cNvPr>
            <p:cNvSpPr/>
            <p:nvPr/>
          </p:nvSpPr>
          <p:spPr>
            <a:xfrm>
              <a:off x="3196680" y="1322109"/>
              <a:ext cx="113863" cy="130129"/>
            </a:xfrm>
            <a:custGeom>
              <a:avLst/>
              <a:gdLst>
                <a:gd name="connsiteX0" fmla="*/ 115771 w 113863"/>
                <a:gd name="connsiteY0" fmla="*/ 96130 h 130129"/>
                <a:gd name="connsiteX1" fmla="*/ 66973 w 113863"/>
                <a:gd name="connsiteY1" fmla="*/ 132363 h 130129"/>
                <a:gd name="connsiteX2" fmla="*/ 1298 w 113863"/>
                <a:gd name="connsiteY2" fmla="*/ 132363 h 130129"/>
                <a:gd name="connsiteX3" fmla="*/ 1298 w 113863"/>
                <a:gd name="connsiteY3" fmla="*/ 1298 h 130129"/>
                <a:gd name="connsiteX4" fmla="*/ 62012 w 113863"/>
                <a:gd name="connsiteY4" fmla="*/ 1298 h 130129"/>
                <a:gd name="connsiteX5" fmla="*/ 112274 w 113863"/>
                <a:gd name="connsiteY5" fmla="*/ 35823 h 130129"/>
                <a:gd name="connsiteX6" fmla="*/ 92592 w 113863"/>
                <a:gd name="connsiteY6" fmla="*/ 65102 h 130129"/>
                <a:gd name="connsiteX7" fmla="*/ 115771 w 113863"/>
                <a:gd name="connsiteY7" fmla="*/ 96130 h 130129"/>
                <a:gd name="connsiteX8" fmla="*/ 34075 w 113863"/>
                <a:gd name="connsiteY8" fmla="*/ 53309 h 130129"/>
                <a:gd name="connsiteX9" fmla="*/ 62012 w 113863"/>
                <a:gd name="connsiteY9" fmla="*/ 53309 h 130129"/>
                <a:gd name="connsiteX10" fmla="*/ 78644 w 113863"/>
                <a:gd name="connsiteY10" fmla="*/ 40174 h 130129"/>
                <a:gd name="connsiteX11" fmla="*/ 62378 w 113863"/>
                <a:gd name="connsiteY11" fmla="*/ 27080 h 130129"/>
                <a:gd name="connsiteX12" fmla="*/ 33912 w 113863"/>
                <a:gd name="connsiteY12" fmla="*/ 27080 h 130129"/>
                <a:gd name="connsiteX13" fmla="*/ 80799 w 113863"/>
                <a:gd name="connsiteY13" fmla="*/ 92185 h 130129"/>
                <a:gd name="connsiteX14" fmla="*/ 62459 w 113863"/>
                <a:gd name="connsiteY14" fmla="*/ 77343 h 130129"/>
                <a:gd name="connsiteX15" fmla="*/ 33993 w 113863"/>
                <a:gd name="connsiteY15" fmla="*/ 77343 h 130129"/>
                <a:gd name="connsiteX16" fmla="*/ 33993 w 113863"/>
                <a:gd name="connsiteY16" fmla="*/ 106174 h 130129"/>
                <a:gd name="connsiteX17" fmla="*/ 63272 w 113863"/>
                <a:gd name="connsiteY17" fmla="*/ 106174 h 130129"/>
                <a:gd name="connsiteX18" fmla="*/ 80799 w 113863"/>
                <a:gd name="connsiteY18" fmla="*/ 92185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863" h="130129">
                  <a:moveTo>
                    <a:pt x="115771" y="96130"/>
                  </a:moveTo>
                  <a:cubicBezTo>
                    <a:pt x="115771" y="119716"/>
                    <a:pt x="97431" y="132363"/>
                    <a:pt x="66973" y="132363"/>
                  </a:cubicBezTo>
                  <a:lnTo>
                    <a:pt x="1298" y="132363"/>
                  </a:lnTo>
                  <a:lnTo>
                    <a:pt x="1298" y="1298"/>
                  </a:lnTo>
                  <a:lnTo>
                    <a:pt x="62012" y="1298"/>
                  </a:lnTo>
                  <a:cubicBezTo>
                    <a:pt x="93487" y="1298"/>
                    <a:pt x="112274" y="12237"/>
                    <a:pt x="112274" y="35823"/>
                  </a:cubicBezTo>
                  <a:cubicBezTo>
                    <a:pt x="112734" y="48812"/>
                    <a:pt x="104796" y="60625"/>
                    <a:pt x="92592" y="65102"/>
                  </a:cubicBezTo>
                  <a:cubicBezTo>
                    <a:pt x="106654" y="68705"/>
                    <a:pt x="116304" y="81625"/>
                    <a:pt x="115771" y="96130"/>
                  </a:cubicBezTo>
                  <a:close/>
                  <a:moveTo>
                    <a:pt x="34075" y="53309"/>
                  </a:moveTo>
                  <a:lnTo>
                    <a:pt x="62012" y="53309"/>
                  </a:lnTo>
                  <a:cubicBezTo>
                    <a:pt x="73398" y="53309"/>
                    <a:pt x="78644" y="49243"/>
                    <a:pt x="78644" y="40174"/>
                  </a:cubicBezTo>
                  <a:cubicBezTo>
                    <a:pt x="78644" y="32041"/>
                    <a:pt x="72951" y="27080"/>
                    <a:pt x="62378" y="27080"/>
                  </a:cubicBezTo>
                  <a:lnTo>
                    <a:pt x="33912" y="27080"/>
                  </a:lnTo>
                  <a:close/>
                  <a:moveTo>
                    <a:pt x="80799" y="92185"/>
                  </a:moveTo>
                  <a:cubicBezTo>
                    <a:pt x="80799" y="82995"/>
                    <a:pt x="74252" y="77343"/>
                    <a:pt x="62459" y="77343"/>
                  </a:cubicBezTo>
                  <a:lnTo>
                    <a:pt x="33993" y="77343"/>
                  </a:lnTo>
                  <a:lnTo>
                    <a:pt x="33993" y="106174"/>
                  </a:lnTo>
                  <a:lnTo>
                    <a:pt x="63272" y="106174"/>
                  </a:lnTo>
                  <a:cubicBezTo>
                    <a:pt x="74699" y="106174"/>
                    <a:pt x="80799" y="100929"/>
                    <a:pt x="80799" y="92185"/>
                  </a:cubicBezTo>
                  <a:close/>
                </a:path>
              </a:pathLst>
            </a:custGeom>
            <a:solidFill>
              <a:srgbClr val="FFFFFF"/>
            </a:solidFill>
            <a:ln w="4055" cap="flat">
              <a:noFill/>
              <a:prstDash val="solid"/>
              <a:miter/>
            </a:ln>
          </p:spPr>
          <p:txBody>
            <a:bodyPr rtlCol="0" anchor="ctr"/>
            <a:lstStyle/>
            <a:p>
              <a:endParaRPr lang="uk-UA"/>
            </a:p>
          </p:txBody>
        </p:sp>
        <p:sp>
          <p:nvSpPr>
            <p:cNvPr id="56" name="Freeform: Shape 55">
              <a:extLst>
                <a:ext uri="{FF2B5EF4-FFF2-40B4-BE49-F238E27FC236}">
                  <a16:creationId xmlns:a16="http://schemas.microsoft.com/office/drawing/2014/main" id="{3E51F7BE-262E-42C1-9EC5-B9E6AB546900}"/>
                </a:ext>
              </a:extLst>
            </p:cNvPr>
            <p:cNvSpPr/>
            <p:nvPr/>
          </p:nvSpPr>
          <p:spPr>
            <a:xfrm>
              <a:off x="2209934" y="1558091"/>
              <a:ext cx="146395" cy="170795"/>
            </a:xfrm>
            <a:custGeom>
              <a:avLst/>
              <a:gdLst>
                <a:gd name="connsiteX0" fmla="*/ 149036 w 146395"/>
                <a:gd name="connsiteY0" fmla="*/ 1298 h 170794"/>
                <a:gd name="connsiteX1" fmla="*/ 100522 w 146395"/>
                <a:gd name="connsiteY1" fmla="*/ 133705 h 170794"/>
                <a:gd name="connsiteX2" fmla="*/ 59856 w 146395"/>
                <a:gd name="connsiteY2" fmla="*/ 169531 h 170794"/>
                <a:gd name="connsiteX3" fmla="*/ 24030 w 146395"/>
                <a:gd name="connsiteY3" fmla="*/ 134111 h 170794"/>
                <a:gd name="connsiteX4" fmla="*/ 41923 w 146395"/>
                <a:gd name="connsiteY4" fmla="*/ 101579 h 170794"/>
                <a:gd name="connsiteX5" fmla="*/ 62012 w 146395"/>
                <a:gd name="connsiteY5" fmla="*/ 101579 h 170794"/>
                <a:gd name="connsiteX6" fmla="*/ 1298 w 146395"/>
                <a:gd name="connsiteY6" fmla="*/ 1502 h 170794"/>
                <a:gd name="connsiteX7" fmla="*/ 17890 w 146395"/>
                <a:gd name="connsiteY7" fmla="*/ 1502 h 170794"/>
                <a:gd name="connsiteX8" fmla="*/ 78197 w 146395"/>
                <a:gd name="connsiteY8" fmla="*/ 101579 h 170794"/>
                <a:gd name="connsiteX9" fmla="*/ 97879 w 146395"/>
                <a:gd name="connsiteY9" fmla="*/ 101579 h 170794"/>
                <a:gd name="connsiteX10" fmla="*/ 134112 w 146395"/>
                <a:gd name="connsiteY10" fmla="*/ 1502 h 170794"/>
                <a:gd name="connsiteX11" fmla="*/ 88322 w 146395"/>
                <a:gd name="connsiteY11" fmla="*/ 128459 h 170794"/>
                <a:gd name="connsiteX12" fmla="*/ 93568 w 146395"/>
                <a:gd name="connsiteY12" fmla="*/ 113616 h 170794"/>
                <a:gd name="connsiteX13" fmla="*/ 47657 w 146395"/>
                <a:gd name="connsiteY13" fmla="*/ 113616 h 170794"/>
                <a:gd name="connsiteX14" fmla="*/ 38019 w 146395"/>
                <a:gd name="connsiteY14" fmla="*/ 133949 h 170794"/>
                <a:gd name="connsiteX15" fmla="*/ 59897 w 146395"/>
                <a:gd name="connsiteY15" fmla="*/ 156681 h 170794"/>
                <a:gd name="connsiteX16" fmla="*/ 88322 w 146395"/>
                <a:gd name="connsiteY16" fmla="*/ 128459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6395" h="170794">
                  <a:moveTo>
                    <a:pt x="149036" y="1298"/>
                  </a:moveTo>
                  <a:lnTo>
                    <a:pt x="100522" y="133705"/>
                  </a:lnTo>
                  <a:cubicBezTo>
                    <a:pt x="91779" y="158104"/>
                    <a:pt x="78685" y="169531"/>
                    <a:pt x="59856" y="169531"/>
                  </a:cubicBezTo>
                  <a:cubicBezTo>
                    <a:pt x="38426" y="169531"/>
                    <a:pt x="24030" y="155542"/>
                    <a:pt x="24030" y="134111"/>
                  </a:cubicBezTo>
                  <a:cubicBezTo>
                    <a:pt x="24006" y="120912"/>
                    <a:pt x="30764" y="108626"/>
                    <a:pt x="41923" y="101579"/>
                  </a:cubicBezTo>
                  <a:lnTo>
                    <a:pt x="62012" y="101579"/>
                  </a:lnTo>
                  <a:lnTo>
                    <a:pt x="1298" y="1502"/>
                  </a:lnTo>
                  <a:lnTo>
                    <a:pt x="17890" y="1502"/>
                  </a:lnTo>
                  <a:lnTo>
                    <a:pt x="78197" y="101579"/>
                  </a:lnTo>
                  <a:lnTo>
                    <a:pt x="97879" y="101579"/>
                  </a:lnTo>
                  <a:lnTo>
                    <a:pt x="134112" y="1502"/>
                  </a:lnTo>
                  <a:close/>
                  <a:moveTo>
                    <a:pt x="88322" y="128459"/>
                  </a:moveTo>
                  <a:lnTo>
                    <a:pt x="93568" y="113616"/>
                  </a:lnTo>
                  <a:lnTo>
                    <a:pt x="47657" y="113616"/>
                  </a:lnTo>
                  <a:cubicBezTo>
                    <a:pt x="41557" y="117073"/>
                    <a:pt x="38019" y="124962"/>
                    <a:pt x="38019" y="133949"/>
                  </a:cubicBezTo>
                  <a:cubicBezTo>
                    <a:pt x="38019" y="147531"/>
                    <a:pt x="46762" y="156681"/>
                    <a:pt x="59897" y="156681"/>
                  </a:cubicBezTo>
                  <a:cubicBezTo>
                    <a:pt x="72056" y="156843"/>
                    <a:pt x="81287" y="148548"/>
                    <a:pt x="88322" y="128459"/>
                  </a:cubicBezTo>
                  <a:close/>
                </a:path>
              </a:pathLst>
            </a:custGeom>
            <a:solidFill>
              <a:srgbClr val="FFFFFF"/>
            </a:solidFill>
            <a:ln w="4055" cap="flat">
              <a:noFill/>
              <a:prstDash val="solid"/>
              <a:miter/>
            </a:ln>
          </p:spPr>
          <p:txBody>
            <a:bodyPr rtlCol="0" anchor="ctr"/>
            <a:lstStyle/>
            <a:p>
              <a:endParaRPr lang="uk-UA"/>
            </a:p>
          </p:txBody>
        </p:sp>
        <p:sp>
          <p:nvSpPr>
            <p:cNvPr id="57" name="Freeform: Shape 56">
              <a:extLst>
                <a:ext uri="{FF2B5EF4-FFF2-40B4-BE49-F238E27FC236}">
                  <a16:creationId xmlns:a16="http://schemas.microsoft.com/office/drawing/2014/main" id="{B522931B-4E33-4787-B3B4-19E34984360E}"/>
                </a:ext>
              </a:extLst>
            </p:cNvPr>
            <p:cNvSpPr/>
            <p:nvPr/>
          </p:nvSpPr>
          <p:spPr>
            <a:xfrm>
              <a:off x="2388902" y="1549266"/>
              <a:ext cx="105730" cy="174861"/>
            </a:xfrm>
            <a:custGeom>
              <a:avLst/>
              <a:gdLst>
                <a:gd name="connsiteX0" fmla="*/ 105727 w 105730"/>
                <a:gd name="connsiteY0" fmla="*/ 163472 h 174861"/>
                <a:gd name="connsiteX1" fmla="*/ 105727 w 105730"/>
                <a:gd name="connsiteY1" fmla="*/ 176160 h 174861"/>
                <a:gd name="connsiteX2" fmla="*/ 99180 w 105730"/>
                <a:gd name="connsiteY2" fmla="*/ 176160 h 174861"/>
                <a:gd name="connsiteX3" fmla="*/ 80799 w 105730"/>
                <a:gd name="connsiteY3" fmla="*/ 155623 h 174861"/>
                <a:gd name="connsiteX4" fmla="*/ 80799 w 105730"/>
                <a:gd name="connsiteY4" fmla="*/ 115405 h 174861"/>
                <a:gd name="connsiteX5" fmla="*/ 15287 w 105730"/>
                <a:gd name="connsiteY5" fmla="*/ 115405 h 174861"/>
                <a:gd name="connsiteX6" fmla="*/ 15287 w 105730"/>
                <a:gd name="connsiteY6" fmla="*/ 176160 h 174861"/>
                <a:gd name="connsiteX7" fmla="*/ 1298 w 105730"/>
                <a:gd name="connsiteY7" fmla="*/ 176160 h 174861"/>
                <a:gd name="connsiteX8" fmla="*/ 1298 w 105730"/>
                <a:gd name="connsiteY8" fmla="*/ 1298 h 174861"/>
                <a:gd name="connsiteX9" fmla="*/ 15287 w 105730"/>
                <a:gd name="connsiteY9" fmla="*/ 1298 h 174861"/>
                <a:gd name="connsiteX10" fmla="*/ 15287 w 105730"/>
                <a:gd name="connsiteY10" fmla="*/ 102677 h 174861"/>
                <a:gd name="connsiteX11" fmla="*/ 51886 w 105730"/>
                <a:gd name="connsiteY11" fmla="*/ 102677 h 174861"/>
                <a:gd name="connsiteX12" fmla="*/ 87712 w 105730"/>
                <a:gd name="connsiteY12" fmla="*/ 45014 h 174861"/>
                <a:gd name="connsiteX13" fmla="*/ 103003 w 105730"/>
                <a:gd name="connsiteY13" fmla="*/ 45014 h 174861"/>
                <a:gd name="connsiteX14" fmla="*/ 66404 w 105730"/>
                <a:gd name="connsiteY14" fmla="*/ 102677 h 174861"/>
                <a:gd name="connsiteX15" fmla="*/ 94341 w 105730"/>
                <a:gd name="connsiteY15" fmla="*/ 102677 h 174861"/>
                <a:gd name="connsiteX16" fmla="*/ 94341 w 105730"/>
                <a:gd name="connsiteY16" fmla="*/ 155989 h 174861"/>
                <a:gd name="connsiteX17" fmla="*/ 101002 w 105730"/>
                <a:gd name="connsiteY17" fmla="*/ 163382 h 174861"/>
                <a:gd name="connsiteX18" fmla="*/ 101335 w 105730"/>
                <a:gd name="connsiteY18" fmla="*/ 163391 h 17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730" h="174861">
                  <a:moveTo>
                    <a:pt x="105727" y="163472"/>
                  </a:moveTo>
                  <a:lnTo>
                    <a:pt x="105727" y="176160"/>
                  </a:lnTo>
                  <a:lnTo>
                    <a:pt x="99180" y="176160"/>
                  </a:lnTo>
                  <a:cubicBezTo>
                    <a:pt x="87794" y="176160"/>
                    <a:pt x="80799" y="168718"/>
                    <a:pt x="80799" y="155623"/>
                  </a:cubicBezTo>
                  <a:lnTo>
                    <a:pt x="80799" y="115405"/>
                  </a:lnTo>
                  <a:lnTo>
                    <a:pt x="15287" y="115405"/>
                  </a:lnTo>
                  <a:lnTo>
                    <a:pt x="15287" y="176160"/>
                  </a:lnTo>
                  <a:lnTo>
                    <a:pt x="1298" y="176160"/>
                  </a:lnTo>
                  <a:lnTo>
                    <a:pt x="1298" y="1298"/>
                  </a:lnTo>
                  <a:lnTo>
                    <a:pt x="15287" y="1298"/>
                  </a:lnTo>
                  <a:lnTo>
                    <a:pt x="15287" y="102677"/>
                  </a:lnTo>
                  <a:lnTo>
                    <a:pt x="51886" y="102677"/>
                  </a:lnTo>
                  <a:lnTo>
                    <a:pt x="87712" y="45014"/>
                  </a:lnTo>
                  <a:lnTo>
                    <a:pt x="103003" y="45014"/>
                  </a:lnTo>
                  <a:lnTo>
                    <a:pt x="66404" y="102677"/>
                  </a:lnTo>
                  <a:lnTo>
                    <a:pt x="94341" y="102677"/>
                  </a:lnTo>
                  <a:lnTo>
                    <a:pt x="94341" y="155989"/>
                  </a:lnTo>
                  <a:cubicBezTo>
                    <a:pt x="94137" y="159869"/>
                    <a:pt x="97118" y="163179"/>
                    <a:pt x="101002" y="163382"/>
                  </a:cubicBezTo>
                  <a:cubicBezTo>
                    <a:pt x="101112" y="163386"/>
                    <a:pt x="101225" y="163391"/>
                    <a:pt x="101335" y="163391"/>
                  </a:cubicBezTo>
                  <a:close/>
                </a:path>
              </a:pathLst>
            </a:custGeom>
            <a:solidFill>
              <a:srgbClr val="FFFFFF"/>
            </a:solidFill>
            <a:ln w="4055" cap="flat">
              <a:noFill/>
              <a:prstDash val="solid"/>
              <a:miter/>
            </a:ln>
          </p:spPr>
          <p:txBody>
            <a:bodyPr rtlCol="0" anchor="ctr"/>
            <a:lstStyle/>
            <a:p>
              <a:endParaRPr lang="uk-UA"/>
            </a:p>
          </p:txBody>
        </p:sp>
        <p:sp>
          <p:nvSpPr>
            <p:cNvPr id="58" name="Freeform: Shape 57">
              <a:extLst>
                <a:ext uri="{FF2B5EF4-FFF2-40B4-BE49-F238E27FC236}">
                  <a16:creationId xmlns:a16="http://schemas.microsoft.com/office/drawing/2014/main" id="{CD9445EC-C19B-45A1-8700-E5026E8032AE}"/>
                </a:ext>
              </a:extLst>
            </p:cNvPr>
            <p:cNvSpPr/>
            <p:nvPr/>
          </p:nvSpPr>
          <p:spPr>
            <a:xfrm>
              <a:off x="2531923" y="1590781"/>
              <a:ext cx="121996" cy="178928"/>
            </a:xfrm>
            <a:custGeom>
              <a:avLst/>
              <a:gdLst>
                <a:gd name="connsiteX0" fmla="*/ 121871 w 121996"/>
                <a:gd name="connsiteY0" fmla="*/ 69092 h 178927"/>
                <a:gd name="connsiteX1" fmla="*/ 62012 w 121996"/>
                <a:gd name="connsiteY1" fmla="*/ 136841 h 178927"/>
                <a:gd name="connsiteX2" fmla="*/ 15287 w 121996"/>
                <a:gd name="connsiteY2" fmla="*/ 112808 h 178927"/>
                <a:gd name="connsiteX3" fmla="*/ 15287 w 121996"/>
                <a:gd name="connsiteY3" fmla="*/ 178360 h 178927"/>
                <a:gd name="connsiteX4" fmla="*/ 1298 w 121996"/>
                <a:gd name="connsiteY4" fmla="*/ 178360 h 178927"/>
                <a:gd name="connsiteX5" fmla="*/ 1298 w 121996"/>
                <a:gd name="connsiteY5" fmla="*/ 3499 h 178927"/>
                <a:gd name="connsiteX6" fmla="*/ 13091 w 121996"/>
                <a:gd name="connsiteY6" fmla="*/ 3499 h 178927"/>
                <a:gd name="connsiteX7" fmla="*/ 14840 w 121996"/>
                <a:gd name="connsiteY7" fmla="*/ 27085 h 178927"/>
                <a:gd name="connsiteX8" fmla="*/ 62012 w 121996"/>
                <a:gd name="connsiteY8" fmla="*/ 1303 h 178927"/>
                <a:gd name="connsiteX9" fmla="*/ 121871 w 121996"/>
                <a:gd name="connsiteY9" fmla="*/ 69092 h 178927"/>
                <a:gd name="connsiteX10" fmla="*/ 107476 w 121996"/>
                <a:gd name="connsiteY10" fmla="*/ 69092 h 178927"/>
                <a:gd name="connsiteX11" fmla="*/ 60711 w 121996"/>
                <a:gd name="connsiteY11" fmla="*/ 13625 h 178927"/>
                <a:gd name="connsiteX12" fmla="*/ 13945 w 121996"/>
                <a:gd name="connsiteY12" fmla="*/ 69092 h 178927"/>
                <a:gd name="connsiteX13" fmla="*/ 60711 w 121996"/>
                <a:gd name="connsiteY13" fmla="*/ 124601 h 178927"/>
                <a:gd name="connsiteX14" fmla="*/ 107476 w 121996"/>
                <a:gd name="connsiteY14" fmla="*/ 69092 h 17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96" h="178927">
                  <a:moveTo>
                    <a:pt x="121871" y="69092"/>
                  </a:moveTo>
                  <a:cubicBezTo>
                    <a:pt x="121871" y="108863"/>
                    <a:pt x="97472" y="136841"/>
                    <a:pt x="62012" y="136841"/>
                  </a:cubicBezTo>
                  <a:cubicBezTo>
                    <a:pt x="43395" y="137166"/>
                    <a:pt x="25848" y="128142"/>
                    <a:pt x="15287" y="112808"/>
                  </a:cubicBezTo>
                  <a:lnTo>
                    <a:pt x="15287" y="178360"/>
                  </a:lnTo>
                  <a:lnTo>
                    <a:pt x="1298" y="178360"/>
                  </a:lnTo>
                  <a:lnTo>
                    <a:pt x="1298" y="3499"/>
                  </a:lnTo>
                  <a:lnTo>
                    <a:pt x="13091" y="3499"/>
                  </a:lnTo>
                  <a:lnTo>
                    <a:pt x="14840" y="27085"/>
                  </a:lnTo>
                  <a:cubicBezTo>
                    <a:pt x="24970" y="10831"/>
                    <a:pt x="42858" y="1051"/>
                    <a:pt x="62012" y="1303"/>
                  </a:cubicBezTo>
                  <a:cubicBezTo>
                    <a:pt x="97431" y="1384"/>
                    <a:pt x="121871" y="29362"/>
                    <a:pt x="121871" y="69092"/>
                  </a:cubicBezTo>
                  <a:close/>
                  <a:moveTo>
                    <a:pt x="107476" y="69092"/>
                  </a:moveTo>
                  <a:cubicBezTo>
                    <a:pt x="107476" y="35909"/>
                    <a:pt x="88688" y="13625"/>
                    <a:pt x="60711" y="13625"/>
                  </a:cubicBezTo>
                  <a:cubicBezTo>
                    <a:pt x="32733" y="13625"/>
                    <a:pt x="13945" y="35909"/>
                    <a:pt x="13945" y="69092"/>
                  </a:cubicBezTo>
                  <a:cubicBezTo>
                    <a:pt x="13945" y="102275"/>
                    <a:pt x="32326" y="124601"/>
                    <a:pt x="60711" y="124601"/>
                  </a:cubicBezTo>
                  <a:cubicBezTo>
                    <a:pt x="89095" y="124601"/>
                    <a:pt x="107476" y="102316"/>
                    <a:pt x="107476" y="69092"/>
                  </a:cubicBezTo>
                  <a:close/>
                </a:path>
              </a:pathLst>
            </a:custGeom>
            <a:solidFill>
              <a:srgbClr val="FFFFFF"/>
            </a:solidFill>
            <a:ln w="4055" cap="flat">
              <a:noFill/>
              <a:prstDash val="solid"/>
              <a:miter/>
            </a:ln>
          </p:spPr>
          <p:txBody>
            <a:bodyPr rtlCol="0" anchor="ctr"/>
            <a:lstStyle/>
            <a:p>
              <a:endParaRPr lang="uk-UA"/>
            </a:p>
          </p:txBody>
        </p:sp>
        <p:sp>
          <p:nvSpPr>
            <p:cNvPr id="59" name="Freeform: Shape 58">
              <a:extLst>
                <a:ext uri="{FF2B5EF4-FFF2-40B4-BE49-F238E27FC236}">
                  <a16:creationId xmlns:a16="http://schemas.microsoft.com/office/drawing/2014/main" id="{DBDE4863-BF35-4902-9FEE-91071D4FCE34}"/>
                </a:ext>
              </a:extLst>
            </p:cNvPr>
            <p:cNvSpPr/>
            <p:nvPr/>
          </p:nvSpPr>
          <p:spPr>
            <a:xfrm>
              <a:off x="2681043" y="1591101"/>
              <a:ext cx="117930" cy="134196"/>
            </a:xfrm>
            <a:custGeom>
              <a:avLst/>
              <a:gdLst>
                <a:gd name="connsiteX0" fmla="*/ 118862 w 117929"/>
                <a:gd name="connsiteY0" fmla="*/ 122532 h 134195"/>
                <a:gd name="connsiteX1" fmla="*/ 118862 w 117929"/>
                <a:gd name="connsiteY1" fmla="*/ 134325 h 134195"/>
                <a:gd name="connsiteX2" fmla="*/ 113575 w 117929"/>
                <a:gd name="connsiteY2" fmla="*/ 135220 h 134195"/>
                <a:gd name="connsiteX3" fmla="*/ 92185 w 117929"/>
                <a:gd name="connsiteY3" fmla="*/ 112488 h 134195"/>
                <a:gd name="connsiteX4" fmla="*/ 42818 w 117929"/>
                <a:gd name="connsiteY4" fmla="*/ 136521 h 134195"/>
                <a:gd name="connsiteX5" fmla="*/ 1298 w 117929"/>
                <a:gd name="connsiteY5" fmla="*/ 100695 h 134195"/>
                <a:gd name="connsiteX6" fmla="*/ 55505 w 117929"/>
                <a:gd name="connsiteY6" fmla="*/ 59175 h 134195"/>
                <a:gd name="connsiteX7" fmla="*/ 90884 w 117929"/>
                <a:gd name="connsiteY7" fmla="*/ 39087 h 134195"/>
                <a:gd name="connsiteX8" fmla="*/ 57213 w 117929"/>
                <a:gd name="connsiteY8" fmla="*/ 13305 h 134195"/>
                <a:gd name="connsiteX9" fmla="*/ 14393 w 117929"/>
                <a:gd name="connsiteY9" fmla="*/ 35142 h 134195"/>
                <a:gd name="connsiteX10" fmla="*/ 3942 w 117929"/>
                <a:gd name="connsiteY10" fmla="*/ 25708 h 134195"/>
                <a:gd name="connsiteX11" fmla="*/ 57660 w 117929"/>
                <a:gd name="connsiteY11" fmla="*/ 1309 h 134195"/>
                <a:gd name="connsiteX12" fmla="*/ 104873 w 117929"/>
                <a:gd name="connsiteY12" fmla="*/ 43235 h 134195"/>
                <a:gd name="connsiteX13" fmla="*/ 104873 w 117929"/>
                <a:gd name="connsiteY13" fmla="*/ 112732 h 134195"/>
                <a:gd name="connsiteX14" fmla="*/ 114023 w 117929"/>
                <a:gd name="connsiteY14" fmla="*/ 122776 h 134195"/>
                <a:gd name="connsiteX15" fmla="*/ 91738 w 117929"/>
                <a:gd name="connsiteY15" fmla="*/ 82639 h 134195"/>
                <a:gd name="connsiteX16" fmla="*/ 91738 w 117929"/>
                <a:gd name="connsiteY16" fmla="*/ 58606 h 134195"/>
                <a:gd name="connsiteX17" fmla="*/ 56807 w 117929"/>
                <a:gd name="connsiteY17" fmla="*/ 70399 h 134195"/>
                <a:gd name="connsiteX18" fmla="*/ 15734 w 117929"/>
                <a:gd name="connsiteY18" fmla="*/ 100573 h 134195"/>
                <a:gd name="connsiteX19" fmla="*/ 43265 w 117929"/>
                <a:gd name="connsiteY19" fmla="*/ 123712 h 134195"/>
                <a:gd name="connsiteX20" fmla="*/ 91738 w 117929"/>
                <a:gd name="connsiteY20" fmla="*/ 82639 h 1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929" h="134195">
                  <a:moveTo>
                    <a:pt x="118862" y="122532"/>
                  </a:moveTo>
                  <a:lnTo>
                    <a:pt x="118862" y="134325"/>
                  </a:lnTo>
                  <a:cubicBezTo>
                    <a:pt x="117162" y="134915"/>
                    <a:pt x="115377" y="135216"/>
                    <a:pt x="113575" y="135220"/>
                  </a:cubicBezTo>
                  <a:cubicBezTo>
                    <a:pt x="98733" y="135220"/>
                    <a:pt x="92633" y="128632"/>
                    <a:pt x="92185" y="112488"/>
                  </a:cubicBezTo>
                  <a:cubicBezTo>
                    <a:pt x="82995" y="126477"/>
                    <a:pt x="64208" y="136521"/>
                    <a:pt x="42818" y="136521"/>
                  </a:cubicBezTo>
                  <a:cubicBezTo>
                    <a:pt x="17483" y="136521"/>
                    <a:pt x="1298" y="122532"/>
                    <a:pt x="1298" y="100695"/>
                  </a:cubicBezTo>
                  <a:cubicBezTo>
                    <a:pt x="1298" y="69667"/>
                    <a:pt x="30577" y="64421"/>
                    <a:pt x="55505" y="59175"/>
                  </a:cubicBezTo>
                  <a:cubicBezTo>
                    <a:pt x="74699" y="55109"/>
                    <a:pt x="90884" y="52628"/>
                    <a:pt x="90884" y="39087"/>
                  </a:cubicBezTo>
                  <a:cubicBezTo>
                    <a:pt x="90884" y="23797"/>
                    <a:pt x="77343" y="13305"/>
                    <a:pt x="57213" y="13305"/>
                  </a:cubicBezTo>
                  <a:cubicBezTo>
                    <a:pt x="40215" y="13093"/>
                    <a:pt x="24201" y="21259"/>
                    <a:pt x="14393" y="35142"/>
                  </a:cubicBezTo>
                  <a:lnTo>
                    <a:pt x="3942" y="25708"/>
                  </a:lnTo>
                  <a:cubicBezTo>
                    <a:pt x="17268" y="9909"/>
                    <a:pt x="36994" y="951"/>
                    <a:pt x="57660" y="1309"/>
                  </a:cubicBezTo>
                  <a:cubicBezTo>
                    <a:pt x="86940" y="1309"/>
                    <a:pt x="104873" y="17046"/>
                    <a:pt x="104873" y="43235"/>
                  </a:cubicBezTo>
                  <a:lnTo>
                    <a:pt x="104873" y="112732"/>
                  </a:lnTo>
                  <a:cubicBezTo>
                    <a:pt x="104873" y="120133"/>
                    <a:pt x="107476" y="122776"/>
                    <a:pt x="114023" y="122776"/>
                  </a:cubicBezTo>
                  <a:close/>
                  <a:moveTo>
                    <a:pt x="91738" y="82639"/>
                  </a:moveTo>
                  <a:lnTo>
                    <a:pt x="91738" y="58606"/>
                  </a:lnTo>
                  <a:cubicBezTo>
                    <a:pt x="83605" y="65153"/>
                    <a:pt x="70348" y="68244"/>
                    <a:pt x="56807" y="70399"/>
                  </a:cubicBezTo>
                  <a:cubicBezTo>
                    <a:pt x="36270" y="74466"/>
                    <a:pt x="15734" y="78288"/>
                    <a:pt x="15734" y="100573"/>
                  </a:cubicBezTo>
                  <a:cubicBezTo>
                    <a:pt x="15734" y="114968"/>
                    <a:pt x="25779" y="123712"/>
                    <a:pt x="43265" y="123712"/>
                  </a:cubicBezTo>
                  <a:cubicBezTo>
                    <a:pt x="70348" y="123834"/>
                    <a:pt x="91738" y="105941"/>
                    <a:pt x="91738" y="82639"/>
                  </a:cubicBezTo>
                  <a:close/>
                </a:path>
              </a:pathLst>
            </a:custGeom>
            <a:solidFill>
              <a:srgbClr val="FFFFFF"/>
            </a:solidFill>
            <a:ln w="4055" cap="flat">
              <a:noFill/>
              <a:prstDash val="solid"/>
              <a:miter/>
            </a:ln>
          </p:spPr>
          <p:txBody>
            <a:bodyPr rtlCol="0" anchor="ctr"/>
            <a:lstStyle/>
            <a:p>
              <a:endParaRPr lang="uk-UA"/>
            </a:p>
          </p:txBody>
        </p:sp>
        <p:sp>
          <p:nvSpPr>
            <p:cNvPr id="60" name="Freeform: Shape 59">
              <a:extLst>
                <a:ext uri="{FF2B5EF4-FFF2-40B4-BE49-F238E27FC236}">
                  <a16:creationId xmlns:a16="http://schemas.microsoft.com/office/drawing/2014/main" id="{0BA3F017-5EB4-4564-AB9F-617726A3DEAA}"/>
                </a:ext>
              </a:extLst>
            </p:cNvPr>
            <p:cNvSpPr/>
            <p:nvPr/>
          </p:nvSpPr>
          <p:spPr>
            <a:xfrm>
              <a:off x="2815361" y="1553292"/>
              <a:ext cx="52865" cy="170795"/>
            </a:xfrm>
            <a:custGeom>
              <a:avLst/>
              <a:gdLst>
                <a:gd name="connsiteX0" fmla="*/ 1298 w 52865"/>
                <a:gd name="connsiteY0" fmla="*/ 1298 h 170794"/>
                <a:gd name="connsiteX1" fmla="*/ 18337 w 52865"/>
                <a:gd name="connsiteY1" fmla="*/ 1298 h 170794"/>
                <a:gd name="connsiteX2" fmla="*/ 18337 w 52865"/>
                <a:gd name="connsiteY2" fmla="*/ 17890 h 170794"/>
                <a:gd name="connsiteX3" fmla="*/ 1298 w 52865"/>
                <a:gd name="connsiteY3" fmla="*/ 17890 h 170794"/>
                <a:gd name="connsiteX4" fmla="*/ 21631 w 52865"/>
                <a:gd name="connsiteY4" fmla="*/ 41069 h 170794"/>
                <a:gd name="connsiteX5" fmla="*/ 35945 w 52865"/>
                <a:gd name="connsiteY5" fmla="*/ 41069 h 170794"/>
                <a:gd name="connsiteX6" fmla="*/ 35945 w 52865"/>
                <a:gd name="connsiteY6" fmla="*/ 172134 h 170794"/>
                <a:gd name="connsiteX7" fmla="*/ 21956 w 52865"/>
                <a:gd name="connsiteY7" fmla="*/ 172134 h 170794"/>
                <a:gd name="connsiteX8" fmla="*/ 38222 w 52865"/>
                <a:gd name="connsiteY8" fmla="*/ 1298 h 170794"/>
                <a:gd name="connsiteX9" fmla="*/ 55261 w 52865"/>
                <a:gd name="connsiteY9" fmla="*/ 1298 h 170794"/>
                <a:gd name="connsiteX10" fmla="*/ 55261 w 52865"/>
                <a:gd name="connsiteY10" fmla="*/ 17890 h 170794"/>
                <a:gd name="connsiteX11" fmla="*/ 38222 w 52865"/>
                <a:gd name="connsiteY11" fmla="*/ 17890 h 17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65" h="170794">
                  <a:moveTo>
                    <a:pt x="1298" y="1298"/>
                  </a:moveTo>
                  <a:lnTo>
                    <a:pt x="18337" y="1298"/>
                  </a:lnTo>
                  <a:lnTo>
                    <a:pt x="18337" y="17890"/>
                  </a:lnTo>
                  <a:lnTo>
                    <a:pt x="1298" y="17890"/>
                  </a:lnTo>
                  <a:close/>
                  <a:moveTo>
                    <a:pt x="21631" y="41069"/>
                  </a:moveTo>
                  <a:lnTo>
                    <a:pt x="35945" y="41069"/>
                  </a:lnTo>
                  <a:lnTo>
                    <a:pt x="35945" y="172134"/>
                  </a:lnTo>
                  <a:lnTo>
                    <a:pt x="21956" y="172134"/>
                  </a:lnTo>
                  <a:close/>
                  <a:moveTo>
                    <a:pt x="38222" y="1298"/>
                  </a:moveTo>
                  <a:lnTo>
                    <a:pt x="55261" y="1298"/>
                  </a:lnTo>
                  <a:lnTo>
                    <a:pt x="55261" y="17890"/>
                  </a:lnTo>
                  <a:lnTo>
                    <a:pt x="38222" y="17890"/>
                  </a:lnTo>
                  <a:close/>
                </a:path>
              </a:pathLst>
            </a:custGeom>
            <a:solidFill>
              <a:srgbClr val="FFFFFF"/>
            </a:solidFill>
            <a:ln w="4055" cap="flat">
              <a:noFill/>
              <a:prstDash val="solid"/>
              <a:miter/>
            </a:ln>
          </p:spPr>
          <p:txBody>
            <a:bodyPr rtlCol="0" anchor="ctr"/>
            <a:lstStyle/>
            <a:p>
              <a:endParaRPr lang="uk-UA"/>
            </a:p>
          </p:txBody>
        </p:sp>
        <p:sp>
          <p:nvSpPr>
            <p:cNvPr id="61" name="Freeform: Shape 60">
              <a:extLst>
                <a:ext uri="{FF2B5EF4-FFF2-40B4-BE49-F238E27FC236}">
                  <a16:creationId xmlns:a16="http://schemas.microsoft.com/office/drawing/2014/main" id="{EFF09703-352A-47C5-B2E4-B90E60D9E2AA}"/>
                </a:ext>
              </a:extLst>
            </p:cNvPr>
            <p:cNvSpPr/>
            <p:nvPr/>
          </p:nvSpPr>
          <p:spPr>
            <a:xfrm>
              <a:off x="2898806" y="1593063"/>
              <a:ext cx="109797" cy="130129"/>
            </a:xfrm>
            <a:custGeom>
              <a:avLst/>
              <a:gdLst>
                <a:gd name="connsiteX0" fmla="*/ 110485 w 109796"/>
                <a:gd name="connsiteY0" fmla="*/ 1298 h 130129"/>
                <a:gd name="connsiteX1" fmla="*/ 110485 w 109796"/>
                <a:gd name="connsiteY1" fmla="*/ 132363 h 130129"/>
                <a:gd name="connsiteX2" fmla="*/ 96496 w 109796"/>
                <a:gd name="connsiteY2" fmla="*/ 132363 h 130129"/>
                <a:gd name="connsiteX3" fmla="*/ 96496 w 109796"/>
                <a:gd name="connsiteY3" fmla="*/ 71609 h 130129"/>
                <a:gd name="connsiteX4" fmla="*/ 15165 w 109796"/>
                <a:gd name="connsiteY4" fmla="*/ 71609 h 130129"/>
                <a:gd name="connsiteX5" fmla="*/ 15165 w 109796"/>
                <a:gd name="connsiteY5" fmla="*/ 132363 h 130129"/>
                <a:gd name="connsiteX6" fmla="*/ 1298 w 109796"/>
                <a:gd name="connsiteY6" fmla="*/ 132363 h 130129"/>
                <a:gd name="connsiteX7" fmla="*/ 1298 w 109796"/>
                <a:gd name="connsiteY7" fmla="*/ 1298 h 130129"/>
                <a:gd name="connsiteX8" fmla="*/ 15287 w 109796"/>
                <a:gd name="connsiteY8" fmla="*/ 1298 h 130129"/>
                <a:gd name="connsiteX9" fmla="*/ 15287 w 109796"/>
                <a:gd name="connsiteY9" fmla="*/ 59409 h 130129"/>
                <a:gd name="connsiteX10" fmla="*/ 96618 w 109796"/>
                <a:gd name="connsiteY10" fmla="*/ 59409 h 130129"/>
                <a:gd name="connsiteX11" fmla="*/ 96618 w 109796"/>
                <a:gd name="connsiteY11"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796" h="130129">
                  <a:moveTo>
                    <a:pt x="110485" y="1298"/>
                  </a:moveTo>
                  <a:lnTo>
                    <a:pt x="110485" y="132363"/>
                  </a:lnTo>
                  <a:lnTo>
                    <a:pt x="96496" y="132363"/>
                  </a:lnTo>
                  <a:lnTo>
                    <a:pt x="96496" y="71609"/>
                  </a:lnTo>
                  <a:lnTo>
                    <a:pt x="15165" y="71609"/>
                  </a:lnTo>
                  <a:lnTo>
                    <a:pt x="15165" y="132363"/>
                  </a:lnTo>
                  <a:lnTo>
                    <a:pt x="1298" y="132363"/>
                  </a:lnTo>
                  <a:lnTo>
                    <a:pt x="1298" y="1298"/>
                  </a:lnTo>
                  <a:lnTo>
                    <a:pt x="15287" y="1298"/>
                  </a:lnTo>
                  <a:lnTo>
                    <a:pt x="15287" y="59409"/>
                  </a:lnTo>
                  <a:lnTo>
                    <a:pt x="96618" y="59409"/>
                  </a:lnTo>
                  <a:lnTo>
                    <a:pt x="96618" y="1298"/>
                  </a:lnTo>
                  <a:close/>
                </a:path>
              </a:pathLst>
            </a:custGeom>
            <a:solidFill>
              <a:srgbClr val="FFFFFF"/>
            </a:solidFill>
            <a:ln w="4055" cap="flat">
              <a:noFill/>
              <a:prstDash val="solid"/>
              <a:miter/>
            </a:ln>
          </p:spPr>
          <p:txBody>
            <a:bodyPr rtlCol="0" anchor="ctr"/>
            <a:lstStyle/>
            <a:p>
              <a:endParaRPr lang="uk-UA"/>
            </a:p>
          </p:txBody>
        </p:sp>
        <p:sp>
          <p:nvSpPr>
            <p:cNvPr id="62" name="Freeform: Shape 61">
              <a:extLst>
                <a:ext uri="{FF2B5EF4-FFF2-40B4-BE49-F238E27FC236}">
                  <a16:creationId xmlns:a16="http://schemas.microsoft.com/office/drawing/2014/main" id="{F1AE1CD4-E793-4B78-8062-416189FF7C2C}"/>
                </a:ext>
              </a:extLst>
            </p:cNvPr>
            <p:cNvSpPr/>
            <p:nvPr/>
          </p:nvSpPr>
          <p:spPr>
            <a:xfrm>
              <a:off x="3050651" y="1593063"/>
              <a:ext cx="109797" cy="130129"/>
            </a:xfrm>
            <a:custGeom>
              <a:avLst/>
              <a:gdLst>
                <a:gd name="connsiteX0" fmla="*/ 110607 w 109796"/>
                <a:gd name="connsiteY0" fmla="*/ 1298 h 130129"/>
                <a:gd name="connsiteX1" fmla="*/ 110607 w 109796"/>
                <a:gd name="connsiteY1" fmla="*/ 132363 h 130129"/>
                <a:gd name="connsiteX2" fmla="*/ 97065 w 109796"/>
                <a:gd name="connsiteY2" fmla="*/ 132363 h 130129"/>
                <a:gd name="connsiteX3" fmla="*/ 97065 w 109796"/>
                <a:gd name="connsiteY3" fmla="*/ 20940 h 130129"/>
                <a:gd name="connsiteX4" fmla="*/ 16182 w 109796"/>
                <a:gd name="connsiteY4" fmla="*/ 132363 h 130129"/>
                <a:gd name="connsiteX5" fmla="*/ 1298 w 109796"/>
                <a:gd name="connsiteY5" fmla="*/ 132363 h 130129"/>
                <a:gd name="connsiteX6" fmla="*/ 1298 w 109796"/>
                <a:gd name="connsiteY6" fmla="*/ 1298 h 130129"/>
                <a:gd name="connsiteX7" fmla="*/ 14840 w 109796"/>
                <a:gd name="connsiteY7" fmla="*/ 1298 h 130129"/>
                <a:gd name="connsiteX8" fmla="*/ 14840 w 109796"/>
                <a:gd name="connsiteY8" fmla="*/ 112722 h 130129"/>
                <a:gd name="connsiteX9" fmla="*/ 95683 w 109796"/>
                <a:gd name="connsiteY9" fmla="*/ 1298 h 1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796" h="130129">
                  <a:moveTo>
                    <a:pt x="110607" y="1298"/>
                  </a:moveTo>
                  <a:lnTo>
                    <a:pt x="110607" y="132363"/>
                  </a:lnTo>
                  <a:lnTo>
                    <a:pt x="97065" y="132363"/>
                  </a:lnTo>
                  <a:lnTo>
                    <a:pt x="97065" y="20940"/>
                  </a:lnTo>
                  <a:lnTo>
                    <a:pt x="16182" y="132363"/>
                  </a:lnTo>
                  <a:lnTo>
                    <a:pt x="1298" y="132363"/>
                  </a:lnTo>
                  <a:lnTo>
                    <a:pt x="1298" y="1298"/>
                  </a:lnTo>
                  <a:lnTo>
                    <a:pt x="14840" y="1298"/>
                  </a:lnTo>
                  <a:lnTo>
                    <a:pt x="14840" y="112722"/>
                  </a:lnTo>
                  <a:lnTo>
                    <a:pt x="95683" y="1298"/>
                  </a:lnTo>
                  <a:close/>
                </a:path>
              </a:pathLst>
            </a:custGeom>
            <a:solidFill>
              <a:srgbClr val="FFFFFF"/>
            </a:solidFill>
            <a:ln w="4055" cap="flat">
              <a:noFill/>
              <a:prstDash val="solid"/>
              <a:miter/>
            </a:ln>
          </p:spPr>
          <p:txBody>
            <a:bodyPr rtlCol="0" anchor="ctr"/>
            <a:lstStyle/>
            <a:p>
              <a:endParaRPr lang="uk-UA"/>
            </a:p>
          </p:txBody>
        </p:sp>
      </p:grpSp>
      <p:sp>
        <p:nvSpPr>
          <p:cNvPr id="63" name="Graphic 20">
            <a:extLst>
              <a:ext uri="{FF2B5EF4-FFF2-40B4-BE49-F238E27FC236}">
                <a16:creationId xmlns:a16="http://schemas.microsoft.com/office/drawing/2014/main" id="{2E43E527-53F3-4782-BC3F-EF80DAF9F5F8}"/>
              </a:ext>
            </a:extLst>
          </p:cNvPr>
          <p:cNvSpPr/>
          <p:nvPr userDrawn="1"/>
        </p:nvSpPr>
        <p:spPr>
          <a:xfrm>
            <a:off x="9866459" y="1106263"/>
            <a:ext cx="2495550" cy="2781300"/>
          </a:xfrm>
          <a:custGeom>
            <a:avLst/>
            <a:gdLst>
              <a:gd name="connsiteX0" fmla="*/ 7144 w 2495550"/>
              <a:gd name="connsiteY0" fmla="*/ 2490216 h 2781300"/>
              <a:gd name="connsiteX1" fmla="*/ 7144 w 2495550"/>
              <a:gd name="connsiteY1" fmla="*/ 2780348 h 2781300"/>
              <a:gd name="connsiteX2" fmla="*/ 2494598 w 2495550"/>
              <a:gd name="connsiteY2" fmla="*/ 296990 h 2781300"/>
              <a:gd name="connsiteX3" fmla="*/ 2494598 w 2495550"/>
              <a:gd name="connsiteY3" fmla="*/ 7144 h 2781300"/>
              <a:gd name="connsiteX4" fmla="*/ 7144 w 2495550"/>
              <a:gd name="connsiteY4" fmla="*/ 2490216 h 278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550" h="2781300">
                <a:moveTo>
                  <a:pt x="7144" y="2490216"/>
                </a:moveTo>
                <a:lnTo>
                  <a:pt x="7144" y="2780348"/>
                </a:lnTo>
                <a:lnTo>
                  <a:pt x="2494598" y="296990"/>
                </a:lnTo>
                <a:lnTo>
                  <a:pt x="2494598" y="7144"/>
                </a:lnTo>
                <a:lnTo>
                  <a:pt x="7144" y="2490216"/>
                </a:lnTo>
                <a:close/>
              </a:path>
            </a:pathLst>
          </a:custGeom>
          <a:solidFill>
            <a:schemeClr val="accent1"/>
          </a:solidFill>
          <a:ln w="9525" cap="flat">
            <a:noFill/>
            <a:prstDash val="solid"/>
            <a:miter/>
          </a:ln>
        </p:spPr>
        <p:txBody>
          <a:bodyPr rtlCol="0" anchor="ctr"/>
          <a:lstStyle/>
          <a:p>
            <a:endParaRPr lang="uk-UA" dirty="0"/>
          </a:p>
        </p:txBody>
      </p:sp>
      <p:sp>
        <p:nvSpPr>
          <p:cNvPr id="64" name="Graphic 8">
            <a:extLst>
              <a:ext uri="{FF2B5EF4-FFF2-40B4-BE49-F238E27FC236}">
                <a16:creationId xmlns:a16="http://schemas.microsoft.com/office/drawing/2014/main" id="{0658A916-A1E1-4C86-935E-192E405BAC22}"/>
              </a:ext>
            </a:extLst>
          </p:cNvPr>
          <p:cNvSpPr/>
          <p:nvPr userDrawn="1"/>
        </p:nvSpPr>
        <p:spPr>
          <a:xfrm>
            <a:off x="10375826" y="1873987"/>
            <a:ext cx="926188" cy="1357745"/>
          </a:xfrm>
          <a:custGeom>
            <a:avLst/>
            <a:gdLst>
              <a:gd name="connsiteX0" fmla="*/ 5540 w 4683922"/>
              <a:gd name="connsiteY0" fmla="*/ 4652527 h 6866394"/>
              <a:gd name="connsiteX1" fmla="*/ 5540 w 4683922"/>
              <a:gd name="connsiteY1" fmla="*/ 6860938 h 6866394"/>
              <a:gd name="connsiteX2" fmla="*/ 4686104 w 4683922"/>
              <a:gd name="connsiteY2" fmla="*/ 2212187 h 6866394"/>
              <a:gd name="connsiteX3" fmla="*/ 4686104 w 4683922"/>
              <a:gd name="connsiteY3" fmla="*/ 5540 h 6866394"/>
              <a:gd name="connsiteX4" fmla="*/ 5540 w 4683922"/>
              <a:gd name="connsiteY4" fmla="*/ 4652527 h 686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922" h="6866394">
                <a:moveTo>
                  <a:pt x="5540" y="4652527"/>
                </a:moveTo>
                <a:lnTo>
                  <a:pt x="5540" y="6860938"/>
                </a:lnTo>
                <a:lnTo>
                  <a:pt x="4686104" y="2212187"/>
                </a:lnTo>
                <a:lnTo>
                  <a:pt x="4686104" y="5540"/>
                </a:lnTo>
                <a:lnTo>
                  <a:pt x="5540" y="4652527"/>
                </a:lnTo>
                <a:close/>
              </a:path>
            </a:pathLst>
          </a:custGeom>
          <a:noFill/>
          <a:ln w="28575" cap="flat">
            <a:solidFill>
              <a:schemeClr val="bg2"/>
            </a:solidFill>
            <a:prstDash val="solid"/>
            <a:miter/>
          </a:ln>
        </p:spPr>
        <p:txBody>
          <a:bodyPr rtlCol="0" anchor="ctr"/>
          <a:lstStyle/>
          <a:p>
            <a:endParaRPr lang="uk-UA" dirty="0"/>
          </a:p>
        </p:txBody>
      </p:sp>
      <p:sp>
        <p:nvSpPr>
          <p:cNvPr id="66" name="Rectangle 65">
            <a:extLst>
              <a:ext uri="{FF2B5EF4-FFF2-40B4-BE49-F238E27FC236}">
                <a16:creationId xmlns:a16="http://schemas.microsoft.com/office/drawing/2014/main" id="{6D424911-94F0-41C0-BEC6-FF9109444B38}"/>
              </a:ext>
            </a:extLst>
          </p:cNvPr>
          <p:cNvSpPr/>
          <p:nvPr userDrawn="1"/>
        </p:nvSpPr>
        <p:spPr bwMode="ltGray">
          <a:xfrm rot="5400000">
            <a:off x="5671139" y="-7046691"/>
            <a:ext cx="964022" cy="13119100"/>
          </a:xfrm>
          <a:prstGeom prst="rect">
            <a:avLst/>
          </a:prstGeom>
          <a:solidFill>
            <a:srgbClr val="E6E6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dirty="0" err="1">
              <a:solidFill>
                <a:schemeClr val="bg1"/>
              </a:solidFill>
              <a:latin typeface="e-Ukraine UltraLight" panose="00000300000000000000" pitchFamily="50" charset="0"/>
            </a:endParaRPr>
          </a:p>
        </p:txBody>
      </p:sp>
      <p:sp>
        <p:nvSpPr>
          <p:cNvPr id="67" name="Rectangle 66">
            <a:extLst>
              <a:ext uri="{FF2B5EF4-FFF2-40B4-BE49-F238E27FC236}">
                <a16:creationId xmlns:a16="http://schemas.microsoft.com/office/drawing/2014/main" id="{6441CD70-57AF-4D78-8787-EFB2CA03DE27}"/>
              </a:ext>
            </a:extLst>
          </p:cNvPr>
          <p:cNvSpPr/>
          <p:nvPr userDrawn="1"/>
        </p:nvSpPr>
        <p:spPr bwMode="ltGray">
          <a:xfrm>
            <a:off x="12192000" y="-228600"/>
            <a:ext cx="3352800" cy="8763000"/>
          </a:xfrm>
          <a:prstGeom prst="rect">
            <a:avLst/>
          </a:prstGeom>
          <a:solidFill>
            <a:srgbClr val="E6E6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dirty="0" err="1">
              <a:solidFill>
                <a:schemeClr val="bg1"/>
              </a:solidFill>
              <a:latin typeface="e-Ukraine UltraLight" panose="00000300000000000000" pitchFamily="50" charset="0"/>
            </a:endParaRPr>
          </a:p>
        </p:txBody>
      </p:sp>
    </p:spTree>
    <p:extLst>
      <p:ext uri="{BB962C8B-B14F-4D97-AF65-F5344CB8AC3E}">
        <p14:creationId xmlns:p14="http://schemas.microsoft.com/office/powerpoint/2010/main" val="31755644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Списки">
    <p:bg>
      <p:bgRef idx="1001">
        <a:schemeClr val="bg1"/>
      </p:bgRef>
    </p:bg>
    <p:spTree>
      <p:nvGrpSpPr>
        <p:cNvPr id="1" name=""/>
        <p:cNvGrpSpPr/>
        <p:nvPr/>
      </p:nvGrpSpPr>
      <p:grpSpPr>
        <a:xfrm>
          <a:off x="0" y="0"/>
          <a:ext cx="0" cy="0"/>
          <a:chOff x="0" y="0"/>
          <a:chExt cx="0" cy="0"/>
        </a:xfrm>
      </p:grpSpPr>
      <p:grpSp>
        <p:nvGrpSpPr>
          <p:cNvPr id="113" name="Group 112">
            <a:extLst>
              <a:ext uri="{FF2B5EF4-FFF2-40B4-BE49-F238E27FC236}">
                <a16:creationId xmlns:a16="http://schemas.microsoft.com/office/drawing/2014/main" id="{55DE3C32-1BA4-48BC-BD9F-76AC01F4C00D}"/>
              </a:ext>
            </a:extLst>
          </p:cNvPr>
          <p:cNvGrpSpPr/>
          <p:nvPr userDrawn="1"/>
        </p:nvGrpSpPr>
        <p:grpSpPr>
          <a:xfrm>
            <a:off x="0" y="209380"/>
            <a:ext cx="12192000" cy="900000"/>
            <a:chOff x="0" y="209380"/>
            <a:chExt cx="12192000" cy="900000"/>
          </a:xfrm>
        </p:grpSpPr>
        <p:sp>
          <p:nvSpPr>
            <p:cNvPr id="116" name="Freeform: Shape 115">
              <a:extLst>
                <a:ext uri="{FF2B5EF4-FFF2-40B4-BE49-F238E27FC236}">
                  <a16:creationId xmlns:a16="http://schemas.microsoft.com/office/drawing/2014/main" id="{33AF8648-8BFE-4D43-87AF-29EBCD39989A}"/>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7" name="Graphic 22">
              <a:extLst>
                <a:ext uri="{FF2B5EF4-FFF2-40B4-BE49-F238E27FC236}">
                  <a16:creationId xmlns:a16="http://schemas.microsoft.com/office/drawing/2014/main" id="{9F6FBACA-3C30-4051-A399-C3E531C6A12B}"/>
                </a:ext>
              </a:extLst>
            </p:cNvPr>
            <p:cNvGrpSpPr/>
            <p:nvPr/>
          </p:nvGrpSpPr>
          <p:grpSpPr>
            <a:xfrm>
              <a:off x="10915649" y="368867"/>
              <a:ext cx="581025" cy="581025"/>
              <a:chOff x="11049699" y="311944"/>
              <a:chExt cx="446976" cy="446976"/>
            </a:xfrm>
          </p:grpSpPr>
          <p:sp>
            <p:nvSpPr>
              <p:cNvPr id="28" name="Freeform: Shape 27">
                <a:extLst>
                  <a:ext uri="{FF2B5EF4-FFF2-40B4-BE49-F238E27FC236}">
                    <a16:creationId xmlns:a16="http://schemas.microsoft.com/office/drawing/2014/main" id="{D7EEAD40-ECE4-487D-9C4F-6D2FE43D0B9F}"/>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6BFC6F9-799A-478B-9D7D-02624EEA0635}"/>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A85DEE6C-EE72-4564-878E-8CD86B0B31F4}"/>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EAAB44E1-988C-49AE-901E-8DF2FAB58616}"/>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94354EB6-A075-47F9-8023-27E4303DCF17}"/>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DD3842F1-7FF8-4AC7-8186-B8B24E1ED329}"/>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AC896309-B673-4E0C-AB91-43BDB13D26AD}"/>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E0262554-708A-43A3-B697-3D22ADAB725B}"/>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5154DE8D-DA8C-4174-A1E3-50B9CF5227DD}"/>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4632643A-F5D2-40A7-8626-9D1344226EE1}"/>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A75AE45C-20BA-4B6A-9B63-F4649591C2DE}"/>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0B0E6861-FC4E-4C59-8FD3-DFAD2193FE07}"/>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AEB6DFFB-F3D7-4BDD-AA69-F15DE4A58613}"/>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B38777A0-8773-47F3-97C8-49118A8155B7}"/>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0F7E8AFB-910F-409B-B8DA-99DEE9CD976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F8E2857E-6394-4E1F-916A-D863EA29C22E}"/>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69C3FE05-3679-4ACA-8F0C-3441DB037DD4}"/>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C7A7A25F-5571-4AA8-981D-DBBD1B5F393B}"/>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78970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2" name="Google Shape;334;p32">
            <a:extLst>
              <a:ext uri="{FF2B5EF4-FFF2-40B4-BE49-F238E27FC236}">
                <a16:creationId xmlns:a16="http://schemas.microsoft.com/office/drawing/2014/main" id="{2C873F0C-CDC0-4727-A62F-8A1D33422E4A}"/>
              </a:ext>
            </a:extLst>
          </p:cNvPr>
          <p:cNvSpPr txBox="1">
            <a:spLocks/>
          </p:cNvSpPr>
          <p:nvPr userDrawn="1"/>
        </p:nvSpPr>
        <p:spPr>
          <a:xfrm>
            <a:off x="-159794" y="1809792"/>
            <a:ext cx="2034958" cy="1691423"/>
          </a:xfrm>
          <a:prstGeom prst="rect">
            <a:avLst/>
          </a:prstGeom>
        </p:spPr>
        <p:txBody>
          <a:bodyPr spcFirstLastPara="1" wrap="square" lIns="68575" tIns="34275" rIns="68575" bIns="34275" anchor="ctr" anchorCtr="0">
            <a:noAutofit/>
          </a:bodyPr>
          <a:lstStyle>
            <a:lvl1pPr algn="l" defTabSz="685800" rtl="0" eaLnBrk="1" latinLnBrk="0" hangingPunct="1">
              <a:lnSpc>
                <a:spcPct val="100000"/>
              </a:lnSpc>
              <a:spcBef>
                <a:spcPct val="0"/>
              </a:spcBef>
              <a:buNone/>
              <a:defRPr sz="2000" b="1" i="1" kern="1200">
                <a:solidFill>
                  <a:schemeClr val="tx1"/>
                </a:solidFill>
                <a:latin typeface="+mn-lt"/>
                <a:ea typeface="+mj-ea"/>
                <a:cs typeface="+mj-cs"/>
              </a:defRPr>
            </a:lvl1pPr>
          </a:lstStyle>
          <a:p>
            <a:pPr algn="r">
              <a:spcBef>
                <a:spcPts val="0"/>
              </a:spcBef>
            </a:pPr>
            <a:endParaRPr lang="es-ES" sz="18000" b="0" i="0" dirty="0">
              <a:solidFill>
                <a:srgbClr val="FFC000"/>
              </a:solidFill>
              <a:latin typeface="e-Ukraine UltraLight" panose="00000900000000000000" pitchFamily="2" charset="0"/>
            </a:endParaRPr>
          </a:p>
        </p:txBody>
      </p:sp>
      <p:sp>
        <p:nvSpPr>
          <p:cNvPr id="115" name="Title 11">
            <a:extLst>
              <a:ext uri="{FF2B5EF4-FFF2-40B4-BE49-F238E27FC236}">
                <a16:creationId xmlns:a16="http://schemas.microsoft.com/office/drawing/2014/main" id="{5A0895A0-0B2C-4FD7-9180-611706A4E4ED}"/>
              </a:ext>
            </a:extLst>
          </p:cNvPr>
          <p:cNvSpPr>
            <a:spLocks noGrp="1"/>
          </p:cNvSpPr>
          <p:nvPr userDrawn="1">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Списки 1</a:t>
            </a:r>
            <a:endParaRPr lang="en-US" dirty="0"/>
          </a:p>
        </p:txBody>
      </p:sp>
      <p:sp>
        <p:nvSpPr>
          <p:cNvPr id="4" name="Text Placeholder 3">
            <a:extLst>
              <a:ext uri="{FF2B5EF4-FFF2-40B4-BE49-F238E27FC236}">
                <a16:creationId xmlns:a16="http://schemas.microsoft.com/office/drawing/2014/main" id="{17428BB1-650C-44FA-A105-F89BE0A95E6D}"/>
              </a:ext>
            </a:extLst>
          </p:cNvPr>
          <p:cNvSpPr>
            <a:spLocks noGrp="1"/>
          </p:cNvSpPr>
          <p:nvPr userDrawn="1">
            <p:ph type="body" sz="quarter" idx="10" hasCustomPrompt="1"/>
          </p:nvPr>
        </p:nvSpPr>
        <p:spPr>
          <a:xfrm>
            <a:off x="695325" y="1581927"/>
            <a:ext cx="1593850" cy="1919288"/>
          </a:xfrm>
        </p:spPr>
        <p:txBody>
          <a:bodyPr anchor="ctr"/>
          <a:lstStyle>
            <a:lvl1pPr>
              <a:defRPr sz="18000">
                <a:ln w="28575">
                  <a:solidFill>
                    <a:schemeClr val="accent1"/>
                  </a:solidFill>
                </a:ln>
                <a:noFill/>
                <a:latin typeface="e-Ukraine Bold" panose="00000800000000000000" pitchFamily="50" charset="0"/>
              </a:defRPr>
            </a:lvl1pPr>
          </a:lstStyle>
          <a:p>
            <a:pPr lvl="0"/>
            <a:r>
              <a:rPr lang="en-US" dirty="0"/>
              <a:t>1</a:t>
            </a:r>
          </a:p>
        </p:txBody>
      </p:sp>
      <p:sp>
        <p:nvSpPr>
          <p:cNvPr id="6" name="Text Placeholder 5">
            <a:extLst>
              <a:ext uri="{FF2B5EF4-FFF2-40B4-BE49-F238E27FC236}">
                <a16:creationId xmlns:a16="http://schemas.microsoft.com/office/drawing/2014/main" id="{4D22184F-9815-4D47-9913-BA42331836D7}"/>
              </a:ext>
            </a:extLst>
          </p:cNvPr>
          <p:cNvSpPr>
            <a:spLocks noGrp="1"/>
          </p:cNvSpPr>
          <p:nvPr userDrawn="1">
            <p:ph type="body" sz="quarter" idx="11" hasCustomPrompt="1"/>
          </p:nvPr>
        </p:nvSpPr>
        <p:spPr>
          <a:xfrm>
            <a:off x="1790641" y="2329165"/>
            <a:ext cx="1879282" cy="1667315"/>
          </a:xfrm>
        </p:spPr>
        <p:txBody>
          <a:bodyPr/>
          <a:lstStyle>
            <a:lvl1pPr marL="104775" indent="-104775">
              <a:buClr>
                <a:schemeClr val="accent2"/>
              </a:buClr>
              <a:buFont typeface="Arial" panose="020B0604020202020204" pitchFamily="34" charset="0"/>
              <a:buChar char="•"/>
              <a:defRPr sz="16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Пункт 1</a:t>
            </a:r>
          </a:p>
          <a:p>
            <a:pPr lvl="0"/>
            <a:r>
              <a:rPr lang="uk-UA" dirty="0"/>
              <a:t>Пункт 2</a:t>
            </a:r>
          </a:p>
          <a:p>
            <a:pPr lvl="0"/>
            <a:r>
              <a:rPr lang="uk-UA" dirty="0"/>
              <a:t>Пункт 3</a:t>
            </a:r>
          </a:p>
          <a:p>
            <a:pPr lvl="0"/>
            <a:r>
              <a:rPr lang="uk-UA" dirty="0"/>
              <a:t>Пункт 4</a:t>
            </a:r>
          </a:p>
          <a:p>
            <a:pPr lvl="0"/>
            <a:r>
              <a:rPr lang="uk-UA" dirty="0"/>
              <a:t>Пункт 5</a:t>
            </a:r>
            <a:endParaRPr lang="en-US" dirty="0"/>
          </a:p>
        </p:txBody>
      </p:sp>
      <p:sp>
        <p:nvSpPr>
          <p:cNvPr id="11" name="Text Placeholder 3">
            <a:extLst>
              <a:ext uri="{FF2B5EF4-FFF2-40B4-BE49-F238E27FC236}">
                <a16:creationId xmlns:a16="http://schemas.microsoft.com/office/drawing/2014/main" id="{EE5A5635-F4CF-4904-B4D1-7442D457207D}"/>
              </a:ext>
            </a:extLst>
          </p:cNvPr>
          <p:cNvSpPr>
            <a:spLocks noGrp="1"/>
          </p:cNvSpPr>
          <p:nvPr userDrawn="1">
            <p:ph type="body" sz="quarter" idx="12" hasCustomPrompt="1"/>
          </p:nvPr>
        </p:nvSpPr>
        <p:spPr>
          <a:xfrm>
            <a:off x="4323081" y="1581927"/>
            <a:ext cx="1593850" cy="1919288"/>
          </a:xfrm>
        </p:spPr>
        <p:txBody>
          <a:bodyPr anchor="ctr"/>
          <a:lstStyle>
            <a:lvl1pPr marL="0" indent="0">
              <a:defRPr lang="en-US" sz="18000" kern="1200" dirty="0">
                <a:ln w="28575">
                  <a:solidFill>
                    <a:schemeClr val="accent1"/>
                  </a:solidFill>
                </a:ln>
                <a:noFill/>
                <a:latin typeface="e-Ukraine Bold" panose="00000800000000000000" pitchFamily="50" charset="0"/>
                <a:ea typeface="+mn-ea"/>
                <a:cs typeface="+mn-cs"/>
              </a:defRPr>
            </a:lvl1pPr>
          </a:lstStyle>
          <a:p>
            <a:pPr marL="0" marR="0" lvl="0" indent="-205740" algn="l" defTabSz="685800" rtl="0" eaLnBrk="1" fontAlgn="auto" latinLnBrk="0" hangingPunct="1">
              <a:lnSpc>
                <a:spcPct val="100000"/>
              </a:lnSpc>
              <a:spcBef>
                <a:spcPts val="0"/>
              </a:spcBef>
              <a:spcAft>
                <a:spcPts val="675"/>
              </a:spcAft>
              <a:buClr>
                <a:schemeClr val="tx1"/>
              </a:buClr>
              <a:buSzTx/>
              <a:buFontTx/>
              <a:buNone/>
              <a:tabLst/>
            </a:pPr>
            <a:r>
              <a:rPr lang="en-US" dirty="0"/>
              <a:t>2</a:t>
            </a:r>
          </a:p>
        </p:txBody>
      </p:sp>
      <p:sp>
        <p:nvSpPr>
          <p:cNvPr id="13" name="Text Placeholder 3">
            <a:extLst>
              <a:ext uri="{FF2B5EF4-FFF2-40B4-BE49-F238E27FC236}">
                <a16:creationId xmlns:a16="http://schemas.microsoft.com/office/drawing/2014/main" id="{EBC20E4C-9ED5-4FC9-B25B-4BC7F1DD08B4}"/>
              </a:ext>
            </a:extLst>
          </p:cNvPr>
          <p:cNvSpPr>
            <a:spLocks noGrp="1"/>
          </p:cNvSpPr>
          <p:nvPr userDrawn="1">
            <p:ph type="body" sz="quarter" idx="14" hasCustomPrompt="1"/>
          </p:nvPr>
        </p:nvSpPr>
        <p:spPr>
          <a:xfrm>
            <a:off x="8345805" y="1581927"/>
            <a:ext cx="1593850" cy="1919288"/>
          </a:xfrm>
        </p:spPr>
        <p:txBody>
          <a:bodyPr anchor="ctr"/>
          <a:lstStyle>
            <a:lvl1pPr marL="0" indent="0">
              <a:defRPr lang="en-US" sz="18000" kern="1200" dirty="0">
                <a:ln w="28575">
                  <a:solidFill>
                    <a:schemeClr val="accent1"/>
                  </a:solidFill>
                </a:ln>
                <a:noFill/>
                <a:latin typeface="e-Ukraine Bold" panose="00000800000000000000" pitchFamily="50" charset="0"/>
                <a:ea typeface="+mn-ea"/>
                <a:cs typeface="+mn-cs"/>
              </a:defRPr>
            </a:lvl1pPr>
          </a:lstStyle>
          <a:p>
            <a:pPr marL="0" marR="0" lvl="0" indent="-205740" algn="l" defTabSz="685800" rtl="0" eaLnBrk="1" fontAlgn="auto" latinLnBrk="0" hangingPunct="1">
              <a:lnSpc>
                <a:spcPct val="100000"/>
              </a:lnSpc>
              <a:spcBef>
                <a:spcPts val="0"/>
              </a:spcBef>
              <a:spcAft>
                <a:spcPts val="675"/>
              </a:spcAft>
              <a:buClr>
                <a:schemeClr val="tx1"/>
              </a:buClr>
              <a:buSzTx/>
              <a:buFontTx/>
              <a:buNone/>
              <a:tabLst/>
            </a:pPr>
            <a:r>
              <a:rPr lang="en-US" dirty="0"/>
              <a:t>3</a:t>
            </a:r>
          </a:p>
        </p:txBody>
      </p:sp>
      <p:sp>
        <p:nvSpPr>
          <p:cNvPr id="17" name="Text Placeholder 3">
            <a:extLst>
              <a:ext uri="{FF2B5EF4-FFF2-40B4-BE49-F238E27FC236}">
                <a16:creationId xmlns:a16="http://schemas.microsoft.com/office/drawing/2014/main" id="{7518B8D9-661E-45D7-9F25-B7E48D1F0242}"/>
              </a:ext>
            </a:extLst>
          </p:cNvPr>
          <p:cNvSpPr>
            <a:spLocks noGrp="1"/>
          </p:cNvSpPr>
          <p:nvPr userDrawn="1">
            <p:ph type="body" sz="quarter" idx="16" hasCustomPrompt="1"/>
          </p:nvPr>
        </p:nvSpPr>
        <p:spPr>
          <a:xfrm>
            <a:off x="695325" y="4303199"/>
            <a:ext cx="1593850" cy="1919288"/>
          </a:xfrm>
        </p:spPr>
        <p:txBody>
          <a:bodyPr anchor="ctr"/>
          <a:lstStyle>
            <a:lvl1pPr marL="0" indent="0">
              <a:defRPr lang="en-US" sz="18000" kern="1200" dirty="0">
                <a:ln w="28575">
                  <a:solidFill>
                    <a:schemeClr val="accent1"/>
                  </a:solidFill>
                </a:ln>
                <a:noFill/>
                <a:latin typeface="e-Ukraine Bold" panose="00000800000000000000" pitchFamily="50" charset="0"/>
                <a:ea typeface="+mn-ea"/>
                <a:cs typeface="+mn-cs"/>
              </a:defRPr>
            </a:lvl1pPr>
          </a:lstStyle>
          <a:p>
            <a:pPr marL="0" marR="0" lvl="0" indent="-205740" algn="l" defTabSz="685800" rtl="0" eaLnBrk="1" fontAlgn="auto" latinLnBrk="0" hangingPunct="1">
              <a:lnSpc>
                <a:spcPct val="100000"/>
              </a:lnSpc>
              <a:spcBef>
                <a:spcPts val="0"/>
              </a:spcBef>
              <a:spcAft>
                <a:spcPts val="675"/>
              </a:spcAft>
              <a:buClr>
                <a:schemeClr val="tx1"/>
              </a:buClr>
              <a:buSzTx/>
              <a:buFontTx/>
              <a:buNone/>
              <a:tabLst/>
            </a:pPr>
            <a:r>
              <a:rPr lang="en-US" dirty="0"/>
              <a:t>4</a:t>
            </a:r>
          </a:p>
        </p:txBody>
      </p:sp>
      <p:sp>
        <p:nvSpPr>
          <p:cNvPr id="19" name="Text Placeholder 3">
            <a:extLst>
              <a:ext uri="{FF2B5EF4-FFF2-40B4-BE49-F238E27FC236}">
                <a16:creationId xmlns:a16="http://schemas.microsoft.com/office/drawing/2014/main" id="{61669517-653B-42AB-A5C6-1D4449CE1C02}"/>
              </a:ext>
            </a:extLst>
          </p:cNvPr>
          <p:cNvSpPr>
            <a:spLocks noGrp="1"/>
          </p:cNvSpPr>
          <p:nvPr userDrawn="1">
            <p:ph type="body" sz="quarter" idx="18" hasCustomPrompt="1"/>
          </p:nvPr>
        </p:nvSpPr>
        <p:spPr>
          <a:xfrm>
            <a:off x="4323081" y="4303199"/>
            <a:ext cx="1593850" cy="1919288"/>
          </a:xfrm>
        </p:spPr>
        <p:txBody>
          <a:bodyPr anchor="ctr"/>
          <a:lstStyle>
            <a:lvl1pPr marL="0" indent="0">
              <a:defRPr lang="en-US" sz="18000" kern="1200" dirty="0">
                <a:ln w="28575">
                  <a:solidFill>
                    <a:schemeClr val="accent1"/>
                  </a:solidFill>
                </a:ln>
                <a:noFill/>
                <a:latin typeface="e-Ukraine Bold" panose="00000800000000000000" pitchFamily="50" charset="0"/>
                <a:ea typeface="+mn-ea"/>
                <a:cs typeface="+mn-cs"/>
              </a:defRPr>
            </a:lvl1pPr>
          </a:lstStyle>
          <a:p>
            <a:pPr marL="0" marR="0" lvl="0" indent="-205740" algn="l" defTabSz="685800" rtl="0" eaLnBrk="1" fontAlgn="auto" latinLnBrk="0" hangingPunct="1">
              <a:lnSpc>
                <a:spcPct val="100000"/>
              </a:lnSpc>
              <a:spcBef>
                <a:spcPts val="0"/>
              </a:spcBef>
              <a:spcAft>
                <a:spcPts val="675"/>
              </a:spcAft>
              <a:buClr>
                <a:schemeClr val="tx1"/>
              </a:buClr>
              <a:buSzTx/>
              <a:buFontTx/>
              <a:buNone/>
              <a:tabLst/>
            </a:pPr>
            <a:r>
              <a:rPr lang="en-US" dirty="0"/>
              <a:t>5</a:t>
            </a:r>
          </a:p>
        </p:txBody>
      </p:sp>
      <p:sp>
        <p:nvSpPr>
          <p:cNvPr id="21" name="Text Placeholder 3">
            <a:extLst>
              <a:ext uri="{FF2B5EF4-FFF2-40B4-BE49-F238E27FC236}">
                <a16:creationId xmlns:a16="http://schemas.microsoft.com/office/drawing/2014/main" id="{03D93207-9FFD-4060-80E1-C74BD3662D47}"/>
              </a:ext>
            </a:extLst>
          </p:cNvPr>
          <p:cNvSpPr>
            <a:spLocks noGrp="1"/>
          </p:cNvSpPr>
          <p:nvPr userDrawn="1">
            <p:ph type="body" sz="quarter" idx="20" hasCustomPrompt="1"/>
          </p:nvPr>
        </p:nvSpPr>
        <p:spPr>
          <a:xfrm>
            <a:off x="8345805" y="4303199"/>
            <a:ext cx="1593850" cy="1919288"/>
          </a:xfrm>
        </p:spPr>
        <p:txBody>
          <a:bodyPr anchor="ctr"/>
          <a:lstStyle>
            <a:lvl1pPr marL="0" indent="0">
              <a:defRPr lang="en-US" sz="18000" kern="1200" dirty="0">
                <a:ln w="28575">
                  <a:solidFill>
                    <a:schemeClr val="accent1"/>
                  </a:solidFill>
                </a:ln>
                <a:noFill/>
                <a:latin typeface="e-Ukraine Bold" panose="00000800000000000000" pitchFamily="50" charset="0"/>
                <a:ea typeface="+mn-ea"/>
                <a:cs typeface="+mn-cs"/>
              </a:defRPr>
            </a:lvl1pPr>
          </a:lstStyle>
          <a:p>
            <a:pPr marL="0" marR="0" lvl="0" indent="-205740" algn="l" defTabSz="685800" rtl="0" eaLnBrk="1" fontAlgn="auto" latinLnBrk="0" hangingPunct="1">
              <a:lnSpc>
                <a:spcPct val="100000"/>
              </a:lnSpc>
              <a:spcBef>
                <a:spcPts val="0"/>
              </a:spcBef>
              <a:spcAft>
                <a:spcPts val="675"/>
              </a:spcAft>
              <a:buClr>
                <a:schemeClr val="tx1"/>
              </a:buClr>
              <a:buSzTx/>
              <a:buFontTx/>
              <a:buNone/>
              <a:tabLst/>
            </a:pPr>
            <a:r>
              <a:rPr lang="en-US" dirty="0"/>
              <a:t>6</a:t>
            </a:r>
          </a:p>
        </p:txBody>
      </p:sp>
      <p:sp>
        <p:nvSpPr>
          <p:cNvPr id="46" name="Text Placeholder 6">
            <a:extLst>
              <a:ext uri="{FF2B5EF4-FFF2-40B4-BE49-F238E27FC236}">
                <a16:creationId xmlns:a16="http://schemas.microsoft.com/office/drawing/2014/main" id="{7CFA7FDC-AFB7-4746-89C3-CD095B153165}"/>
              </a:ext>
            </a:extLst>
          </p:cNvPr>
          <p:cNvSpPr>
            <a:spLocks noGrp="1"/>
          </p:cNvSpPr>
          <p:nvPr>
            <p:ph type="body" sz="quarter" idx="22" hasCustomPrompt="1"/>
          </p:nvPr>
        </p:nvSpPr>
        <p:spPr>
          <a:xfrm>
            <a:off x="1790642" y="1765931"/>
            <a:ext cx="1879282" cy="462226"/>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секції.</a:t>
            </a:r>
            <a:br>
              <a:rPr lang="uk-UA" dirty="0"/>
            </a:br>
            <a:r>
              <a:rPr lang="uk-UA" dirty="0"/>
              <a:t>До 2 рядків</a:t>
            </a:r>
          </a:p>
        </p:txBody>
      </p:sp>
      <p:sp>
        <p:nvSpPr>
          <p:cNvPr id="49" name="Text Placeholder 5">
            <a:extLst>
              <a:ext uri="{FF2B5EF4-FFF2-40B4-BE49-F238E27FC236}">
                <a16:creationId xmlns:a16="http://schemas.microsoft.com/office/drawing/2014/main" id="{5BC27D61-8B1D-4F78-AF1C-7CF52AB60B77}"/>
              </a:ext>
            </a:extLst>
          </p:cNvPr>
          <p:cNvSpPr>
            <a:spLocks noGrp="1"/>
          </p:cNvSpPr>
          <p:nvPr>
            <p:ph type="body" sz="quarter" idx="23" hasCustomPrompt="1"/>
          </p:nvPr>
        </p:nvSpPr>
        <p:spPr>
          <a:xfrm>
            <a:off x="5916930" y="2329165"/>
            <a:ext cx="1879282" cy="1667315"/>
          </a:xfrm>
        </p:spPr>
        <p:txBody>
          <a:bodyPr/>
          <a:lstStyle>
            <a:lvl1pPr marL="104775" indent="-104775">
              <a:buClr>
                <a:schemeClr val="accent1"/>
              </a:buClr>
              <a:buFont typeface="Arial" panose="020B0604020202020204" pitchFamily="34" charset="0"/>
              <a:buChar char="•"/>
              <a:defRPr lang="en-US" sz="1600" kern="1200" dirty="0">
                <a:solidFill>
                  <a:schemeClr val="tx1"/>
                </a:solidFill>
                <a:latin typeface="e-Ukraine UltraLight" panose="00000300000000000000" pitchFamily="50" charset="0"/>
                <a:ea typeface="+mn-ea"/>
                <a:cs typeface="+mn-cs"/>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1</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2</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3</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4</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5</a:t>
            </a:r>
            <a:endParaRPr lang="en-US" dirty="0"/>
          </a:p>
        </p:txBody>
      </p:sp>
      <p:sp>
        <p:nvSpPr>
          <p:cNvPr id="50" name="Text Placeholder 6">
            <a:extLst>
              <a:ext uri="{FF2B5EF4-FFF2-40B4-BE49-F238E27FC236}">
                <a16:creationId xmlns:a16="http://schemas.microsoft.com/office/drawing/2014/main" id="{3A8B6AD2-B849-489E-A81C-F79FC0D5E3E8}"/>
              </a:ext>
            </a:extLst>
          </p:cNvPr>
          <p:cNvSpPr>
            <a:spLocks noGrp="1"/>
          </p:cNvSpPr>
          <p:nvPr>
            <p:ph type="body" sz="quarter" idx="24" hasCustomPrompt="1"/>
          </p:nvPr>
        </p:nvSpPr>
        <p:spPr>
          <a:xfrm>
            <a:off x="5916931" y="1765931"/>
            <a:ext cx="1879282" cy="462226"/>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секції.</a:t>
            </a:r>
            <a:br>
              <a:rPr lang="uk-UA" dirty="0"/>
            </a:br>
            <a:r>
              <a:rPr lang="uk-UA" dirty="0"/>
              <a:t>До 2 рядків</a:t>
            </a:r>
          </a:p>
        </p:txBody>
      </p:sp>
      <p:sp>
        <p:nvSpPr>
          <p:cNvPr id="51" name="Text Placeholder 5">
            <a:extLst>
              <a:ext uri="{FF2B5EF4-FFF2-40B4-BE49-F238E27FC236}">
                <a16:creationId xmlns:a16="http://schemas.microsoft.com/office/drawing/2014/main" id="{C3F5A5CA-50D0-4FAE-BC1E-279705C19D9B}"/>
              </a:ext>
            </a:extLst>
          </p:cNvPr>
          <p:cNvSpPr>
            <a:spLocks noGrp="1"/>
          </p:cNvSpPr>
          <p:nvPr>
            <p:ph type="body" sz="quarter" idx="25" hasCustomPrompt="1"/>
          </p:nvPr>
        </p:nvSpPr>
        <p:spPr>
          <a:xfrm>
            <a:off x="9939654" y="2329165"/>
            <a:ext cx="1879282" cy="1667315"/>
          </a:xfrm>
        </p:spPr>
        <p:txBody>
          <a:bodyPr/>
          <a:lstStyle>
            <a:lvl1pPr marL="104775" indent="-104775">
              <a:buClr>
                <a:schemeClr val="accent1"/>
              </a:buClr>
              <a:buFont typeface="Arial" panose="020B0604020202020204" pitchFamily="34" charset="0"/>
              <a:buChar char="•"/>
              <a:defRPr lang="en-US" sz="1600" kern="1200" dirty="0">
                <a:solidFill>
                  <a:schemeClr val="tx1"/>
                </a:solidFill>
                <a:latin typeface="e-Ukraine UltraLight" panose="00000300000000000000" pitchFamily="50" charset="0"/>
                <a:ea typeface="+mn-ea"/>
                <a:cs typeface="+mn-cs"/>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1</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2</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3</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4</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5</a:t>
            </a:r>
            <a:endParaRPr lang="en-US" dirty="0"/>
          </a:p>
        </p:txBody>
      </p:sp>
      <p:sp>
        <p:nvSpPr>
          <p:cNvPr id="52" name="Text Placeholder 6">
            <a:extLst>
              <a:ext uri="{FF2B5EF4-FFF2-40B4-BE49-F238E27FC236}">
                <a16:creationId xmlns:a16="http://schemas.microsoft.com/office/drawing/2014/main" id="{CAA95819-2020-4E19-8274-FF47355CD598}"/>
              </a:ext>
            </a:extLst>
          </p:cNvPr>
          <p:cNvSpPr>
            <a:spLocks noGrp="1"/>
          </p:cNvSpPr>
          <p:nvPr>
            <p:ph type="body" sz="quarter" idx="26" hasCustomPrompt="1"/>
          </p:nvPr>
        </p:nvSpPr>
        <p:spPr>
          <a:xfrm>
            <a:off x="9939655" y="1765931"/>
            <a:ext cx="1891516" cy="462226"/>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секції.</a:t>
            </a:r>
            <a:br>
              <a:rPr lang="uk-UA" dirty="0"/>
            </a:br>
            <a:r>
              <a:rPr lang="uk-UA" dirty="0"/>
              <a:t>До 2 рядків</a:t>
            </a:r>
          </a:p>
        </p:txBody>
      </p:sp>
      <p:sp>
        <p:nvSpPr>
          <p:cNvPr id="53" name="Text Placeholder 5">
            <a:extLst>
              <a:ext uri="{FF2B5EF4-FFF2-40B4-BE49-F238E27FC236}">
                <a16:creationId xmlns:a16="http://schemas.microsoft.com/office/drawing/2014/main" id="{BCFA6D5E-B5E4-412A-933F-249997C4CD46}"/>
              </a:ext>
            </a:extLst>
          </p:cNvPr>
          <p:cNvSpPr>
            <a:spLocks noGrp="1"/>
          </p:cNvSpPr>
          <p:nvPr>
            <p:ph type="body" sz="quarter" idx="27" hasCustomPrompt="1"/>
          </p:nvPr>
        </p:nvSpPr>
        <p:spPr>
          <a:xfrm>
            <a:off x="2289175" y="5013686"/>
            <a:ext cx="1879282" cy="1667315"/>
          </a:xfrm>
        </p:spPr>
        <p:txBody>
          <a:bodyPr/>
          <a:lstStyle>
            <a:lvl1pPr marL="104775" indent="-104775">
              <a:buClr>
                <a:schemeClr val="accent1"/>
              </a:buClr>
              <a:buFont typeface="Arial" panose="020B0604020202020204" pitchFamily="34" charset="0"/>
              <a:buChar char="•"/>
              <a:defRPr lang="uk-UA" sz="1600" kern="1200" dirty="0">
                <a:solidFill>
                  <a:schemeClr val="tx1"/>
                </a:solidFill>
                <a:latin typeface="e-Ukraine UltraLight" panose="00000300000000000000" pitchFamily="50" charset="0"/>
                <a:ea typeface="+mn-ea"/>
                <a:cs typeface="+mn-cs"/>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1</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2</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3</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4</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5</a:t>
            </a:r>
            <a:endParaRPr lang="en-US" dirty="0"/>
          </a:p>
        </p:txBody>
      </p:sp>
      <p:sp>
        <p:nvSpPr>
          <p:cNvPr id="54" name="Text Placeholder 6">
            <a:extLst>
              <a:ext uri="{FF2B5EF4-FFF2-40B4-BE49-F238E27FC236}">
                <a16:creationId xmlns:a16="http://schemas.microsoft.com/office/drawing/2014/main" id="{CE3192CF-85FA-4ED4-A889-17E39A9872BF}"/>
              </a:ext>
            </a:extLst>
          </p:cNvPr>
          <p:cNvSpPr>
            <a:spLocks noGrp="1"/>
          </p:cNvSpPr>
          <p:nvPr>
            <p:ph type="body" sz="quarter" idx="28" hasCustomPrompt="1"/>
          </p:nvPr>
        </p:nvSpPr>
        <p:spPr>
          <a:xfrm>
            <a:off x="2289176" y="4450452"/>
            <a:ext cx="1879282" cy="462226"/>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секції.</a:t>
            </a:r>
            <a:br>
              <a:rPr lang="uk-UA" dirty="0"/>
            </a:br>
            <a:r>
              <a:rPr lang="uk-UA" dirty="0"/>
              <a:t>До 2 рядків</a:t>
            </a:r>
          </a:p>
        </p:txBody>
      </p:sp>
      <p:sp>
        <p:nvSpPr>
          <p:cNvPr id="55" name="Text Placeholder 5">
            <a:extLst>
              <a:ext uri="{FF2B5EF4-FFF2-40B4-BE49-F238E27FC236}">
                <a16:creationId xmlns:a16="http://schemas.microsoft.com/office/drawing/2014/main" id="{6EC21028-2810-441A-83C3-FFF38A573E72}"/>
              </a:ext>
            </a:extLst>
          </p:cNvPr>
          <p:cNvSpPr>
            <a:spLocks noGrp="1"/>
          </p:cNvSpPr>
          <p:nvPr>
            <p:ph type="body" sz="quarter" idx="29" hasCustomPrompt="1"/>
          </p:nvPr>
        </p:nvSpPr>
        <p:spPr>
          <a:xfrm>
            <a:off x="5919688" y="5013686"/>
            <a:ext cx="1879282" cy="1667315"/>
          </a:xfrm>
        </p:spPr>
        <p:txBody>
          <a:bodyPr/>
          <a:lstStyle>
            <a:lvl1pPr marL="104775" indent="-104775">
              <a:buClr>
                <a:schemeClr val="accent1"/>
              </a:buClr>
              <a:buFont typeface="Arial" panose="020B0604020202020204" pitchFamily="34" charset="0"/>
              <a:buChar char="•"/>
              <a:defRPr lang="uk-UA" sz="1600" kern="1200" dirty="0">
                <a:solidFill>
                  <a:schemeClr val="tx1"/>
                </a:solidFill>
                <a:latin typeface="e-Ukraine UltraLight" panose="00000300000000000000" pitchFamily="50" charset="0"/>
                <a:ea typeface="+mn-ea"/>
                <a:cs typeface="+mn-cs"/>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1</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2</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3</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4</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5</a:t>
            </a:r>
            <a:endParaRPr lang="en-US" dirty="0"/>
          </a:p>
        </p:txBody>
      </p:sp>
      <p:sp>
        <p:nvSpPr>
          <p:cNvPr id="56" name="Text Placeholder 6">
            <a:extLst>
              <a:ext uri="{FF2B5EF4-FFF2-40B4-BE49-F238E27FC236}">
                <a16:creationId xmlns:a16="http://schemas.microsoft.com/office/drawing/2014/main" id="{C1072FC7-24FE-4252-9543-5C44FAD03A08}"/>
              </a:ext>
            </a:extLst>
          </p:cNvPr>
          <p:cNvSpPr>
            <a:spLocks noGrp="1"/>
          </p:cNvSpPr>
          <p:nvPr>
            <p:ph type="body" sz="quarter" idx="30" hasCustomPrompt="1"/>
          </p:nvPr>
        </p:nvSpPr>
        <p:spPr>
          <a:xfrm>
            <a:off x="5919689" y="4450452"/>
            <a:ext cx="1879282" cy="462226"/>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секції.</a:t>
            </a:r>
            <a:br>
              <a:rPr lang="uk-UA" dirty="0"/>
            </a:br>
            <a:r>
              <a:rPr lang="uk-UA" dirty="0"/>
              <a:t>До 2 рядків</a:t>
            </a:r>
          </a:p>
        </p:txBody>
      </p:sp>
      <p:sp>
        <p:nvSpPr>
          <p:cNvPr id="57" name="Text Placeholder 5">
            <a:extLst>
              <a:ext uri="{FF2B5EF4-FFF2-40B4-BE49-F238E27FC236}">
                <a16:creationId xmlns:a16="http://schemas.microsoft.com/office/drawing/2014/main" id="{74FDFE04-E955-44CA-A173-D93DA7A666C2}"/>
              </a:ext>
            </a:extLst>
          </p:cNvPr>
          <p:cNvSpPr>
            <a:spLocks noGrp="1"/>
          </p:cNvSpPr>
          <p:nvPr>
            <p:ph type="body" sz="quarter" idx="31" hasCustomPrompt="1"/>
          </p:nvPr>
        </p:nvSpPr>
        <p:spPr>
          <a:xfrm>
            <a:off x="9929430" y="5013686"/>
            <a:ext cx="1879282" cy="1667315"/>
          </a:xfrm>
        </p:spPr>
        <p:txBody>
          <a:bodyPr/>
          <a:lstStyle>
            <a:lvl1pPr marL="104775" indent="-104775">
              <a:buClr>
                <a:schemeClr val="accent1"/>
              </a:buClr>
              <a:buFont typeface="Arial" panose="020B0604020202020204" pitchFamily="34" charset="0"/>
              <a:buChar char="•"/>
              <a:defRPr lang="en-US" sz="1600" kern="1200" dirty="0">
                <a:solidFill>
                  <a:schemeClr val="tx1"/>
                </a:solidFill>
                <a:latin typeface="e-Ukraine UltraLight" panose="00000300000000000000" pitchFamily="50" charset="0"/>
                <a:ea typeface="+mn-ea"/>
                <a:cs typeface="+mn-cs"/>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1</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2</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3</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4</a:t>
            </a:r>
          </a:p>
          <a:p>
            <a:pPr marL="104775" marR="0" lvl="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pPr>
            <a:r>
              <a:rPr lang="uk-UA" dirty="0"/>
              <a:t>Пункт 5</a:t>
            </a:r>
            <a:endParaRPr lang="en-US" dirty="0"/>
          </a:p>
        </p:txBody>
      </p:sp>
      <p:sp>
        <p:nvSpPr>
          <p:cNvPr id="58" name="Text Placeholder 6">
            <a:extLst>
              <a:ext uri="{FF2B5EF4-FFF2-40B4-BE49-F238E27FC236}">
                <a16:creationId xmlns:a16="http://schemas.microsoft.com/office/drawing/2014/main" id="{1A21F1E0-B998-4508-B8A1-402ACD93E11C}"/>
              </a:ext>
            </a:extLst>
          </p:cNvPr>
          <p:cNvSpPr>
            <a:spLocks noGrp="1"/>
          </p:cNvSpPr>
          <p:nvPr>
            <p:ph type="body" sz="quarter" idx="32" hasCustomPrompt="1"/>
          </p:nvPr>
        </p:nvSpPr>
        <p:spPr>
          <a:xfrm>
            <a:off x="9929431" y="4450452"/>
            <a:ext cx="1879282" cy="462226"/>
          </a:xfrm>
        </p:spPr>
        <p:txBody>
          <a:bodyPr/>
          <a:lstStyle>
            <a:lvl1pPr>
              <a:spcAft>
                <a:spcPts val="0"/>
              </a:spcAft>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Назва секції.</a:t>
            </a:r>
            <a:br>
              <a:rPr lang="uk-UA" dirty="0"/>
            </a:br>
            <a:r>
              <a:rPr lang="uk-UA" dirty="0"/>
              <a:t>До 2 рядків</a:t>
            </a:r>
          </a:p>
        </p:txBody>
      </p:sp>
      <p:sp>
        <p:nvSpPr>
          <p:cNvPr id="59" name="Slide Number Placeholder 8">
            <a:extLst>
              <a:ext uri="{FF2B5EF4-FFF2-40B4-BE49-F238E27FC236}">
                <a16:creationId xmlns:a16="http://schemas.microsoft.com/office/drawing/2014/main" id="{E966D1BA-B0A9-480A-8E41-8820A4B6D799}"/>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47206568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Фото на весь слайд + Текст згори">
    <p:bg>
      <p:bgRef idx="1001">
        <a:schemeClr val="bg1"/>
      </p:bgRef>
    </p:bg>
    <p:spTree>
      <p:nvGrpSpPr>
        <p:cNvPr id="1" name=""/>
        <p:cNvGrpSpPr/>
        <p:nvPr/>
      </p:nvGrpSpPr>
      <p:grpSpPr>
        <a:xfrm>
          <a:off x="0" y="0"/>
          <a:ext cx="0" cy="0"/>
          <a:chOff x="0" y="0"/>
          <a:chExt cx="0" cy="0"/>
        </a:xfrm>
      </p:grpSpPr>
      <p:sp>
        <p:nvSpPr>
          <p:cNvPr id="46" name="Picture Placeholder 4">
            <a:extLst>
              <a:ext uri="{FF2B5EF4-FFF2-40B4-BE49-F238E27FC236}">
                <a16:creationId xmlns:a16="http://schemas.microsoft.com/office/drawing/2014/main" id="{392CD2C3-87A7-46FB-AB08-339636C281AF}"/>
              </a:ext>
            </a:extLst>
          </p:cNvPr>
          <p:cNvSpPr>
            <a:spLocks noGrp="1"/>
          </p:cNvSpPr>
          <p:nvPr>
            <p:ph type="pic" sz="quarter" idx="13" hasCustomPrompt="1"/>
          </p:nvPr>
        </p:nvSpPr>
        <p:spPr>
          <a:xfrm>
            <a:off x="0" y="1098429"/>
            <a:ext cx="12192000" cy="5759571"/>
          </a:xfrm>
        </p:spPr>
        <p:txBody>
          <a:bodyPr/>
          <a:lstStyle>
            <a:lvl1pPr>
              <a:defRPr sz="1600">
                <a:latin typeface="+mn-lt"/>
              </a:defRPr>
            </a:lvl1pPr>
          </a:lstStyle>
          <a:p>
            <a:r>
              <a:rPr lang="uk-UA" dirty="0"/>
              <a:t>Фото</a:t>
            </a:r>
            <a:endParaRPr lang="en-US" dirty="0"/>
          </a:p>
          <a:p>
            <a:r>
              <a:rPr lang="en-US" dirty="0"/>
              <a:t/>
            </a:r>
            <a:br>
              <a:rPr lang="en-US" dirty="0"/>
            </a:br>
            <a:r>
              <a:rPr lang="uk-UA" dirty="0"/>
              <a:t>Для заміни фотографії необхідно </a:t>
            </a:r>
            <a:r>
              <a:rPr lang="uk-UA" dirty="0" err="1"/>
              <a:t>клікнути</a:t>
            </a:r>
            <a:r>
              <a:rPr lang="uk-UA" dirty="0"/>
              <a:t> на фото та натиснути клавішу </a:t>
            </a:r>
            <a:r>
              <a:rPr lang="en-US" dirty="0"/>
              <a:t>DELETE. </a:t>
            </a:r>
            <a:r>
              <a:rPr lang="uk-UA" dirty="0"/>
              <a:t>Після цього </a:t>
            </a:r>
            <a:r>
              <a:rPr lang="uk-UA" dirty="0" err="1"/>
              <a:t>клікнути</a:t>
            </a:r>
            <a:r>
              <a:rPr lang="uk-UA" dirty="0"/>
              <a:t> на кнопці посередині рамки для розміщення нового фото (кнопка з’явиться після вилучення попереднього фото), яка відкриє файловий менеджер для вибору нового фото.</a:t>
            </a:r>
          </a:p>
          <a:p>
            <a:r>
              <a:rPr lang="uk-UA" dirty="0"/>
              <a:t>НЕ МОЖНА заміняти фото через </a:t>
            </a:r>
            <a:r>
              <a:rPr lang="en-US" dirty="0"/>
              <a:t>Change Picture </a:t>
            </a:r>
            <a:r>
              <a:rPr lang="uk-UA" dirty="0"/>
              <a:t>в контекстному меню, оскільки така заміна не здійснює автоматичну обрізку і масштабування фотографії.</a:t>
            </a:r>
          </a:p>
          <a:p>
            <a:r>
              <a:rPr lang="uk-UA" dirty="0"/>
              <a:t>Зверніть увагу!  Після заміни фото нове фото буде автоматично переміщено на передній план. Необхідно його перенести на тло (найнижчий шар). Для перенесення елементу на один шар нижче можна використовувати комбінацію клавіш </a:t>
            </a:r>
            <a:r>
              <a:rPr lang="en-US" dirty="0"/>
              <a:t>CTRL+SHIFT+[ (</a:t>
            </a:r>
            <a:r>
              <a:rPr lang="uk-UA" dirty="0"/>
              <a:t>в деяких випадках необхідне натиснути комбінацію кілька разів для перенесення фотографії на найнижчий шар), вище - </a:t>
            </a:r>
            <a:r>
              <a:rPr lang="en-US" dirty="0"/>
              <a:t>CTRL+SHIFT+]. </a:t>
            </a:r>
            <a:r>
              <a:rPr lang="uk-UA" dirty="0"/>
              <a:t>Або можна використовувати контекстне меню (права кнопка миші на об’єкті – </a:t>
            </a:r>
            <a:r>
              <a:rPr lang="en-US" dirty="0"/>
              <a:t>Send to Back).</a:t>
            </a:r>
            <a:endParaRPr lang="uk-UA" dirty="0"/>
          </a:p>
        </p:txBody>
      </p:sp>
      <p:grpSp>
        <p:nvGrpSpPr>
          <p:cNvPr id="7" name="Group 6">
            <a:extLst>
              <a:ext uri="{FF2B5EF4-FFF2-40B4-BE49-F238E27FC236}">
                <a16:creationId xmlns:a16="http://schemas.microsoft.com/office/drawing/2014/main" id="{499E2E8C-78F9-46A1-B323-97DA13548961}"/>
              </a:ext>
            </a:extLst>
          </p:cNvPr>
          <p:cNvGrpSpPr/>
          <p:nvPr userDrawn="1"/>
        </p:nvGrpSpPr>
        <p:grpSpPr>
          <a:xfrm>
            <a:off x="0" y="209380"/>
            <a:ext cx="12192000" cy="900000"/>
            <a:chOff x="0" y="209380"/>
            <a:chExt cx="12192000" cy="900000"/>
          </a:xfrm>
        </p:grpSpPr>
        <p:sp>
          <p:nvSpPr>
            <p:cNvPr id="114" name="Freeform: Shape 113">
              <a:extLst>
                <a:ext uri="{FF2B5EF4-FFF2-40B4-BE49-F238E27FC236}">
                  <a16:creationId xmlns:a16="http://schemas.microsoft.com/office/drawing/2014/main" id="{7A8C5993-423F-4A15-96C5-AF4824B88996}"/>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7" name="Graphic 22">
              <a:extLst>
                <a:ext uri="{FF2B5EF4-FFF2-40B4-BE49-F238E27FC236}">
                  <a16:creationId xmlns:a16="http://schemas.microsoft.com/office/drawing/2014/main" id="{9F6FBACA-3C30-4051-A399-C3E531C6A12B}"/>
                </a:ext>
              </a:extLst>
            </p:cNvPr>
            <p:cNvGrpSpPr/>
            <p:nvPr/>
          </p:nvGrpSpPr>
          <p:grpSpPr>
            <a:xfrm>
              <a:off x="10915649" y="368867"/>
              <a:ext cx="581025" cy="581025"/>
              <a:chOff x="11049699" y="311944"/>
              <a:chExt cx="446976" cy="446976"/>
            </a:xfrm>
          </p:grpSpPr>
          <p:sp>
            <p:nvSpPr>
              <p:cNvPr id="28" name="Freeform: Shape 27">
                <a:extLst>
                  <a:ext uri="{FF2B5EF4-FFF2-40B4-BE49-F238E27FC236}">
                    <a16:creationId xmlns:a16="http://schemas.microsoft.com/office/drawing/2014/main" id="{D7EEAD40-ECE4-487D-9C4F-6D2FE43D0B9F}"/>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6BFC6F9-799A-478B-9D7D-02624EEA0635}"/>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A85DEE6C-EE72-4564-878E-8CD86B0B31F4}"/>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EAAB44E1-988C-49AE-901E-8DF2FAB58616}"/>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94354EB6-A075-47F9-8023-27E4303DCF17}"/>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DD3842F1-7FF8-4AC7-8186-B8B24E1ED329}"/>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AC896309-B673-4E0C-AB91-43BDB13D26AD}"/>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E0262554-708A-43A3-B697-3D22ADAB725B}"/>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5154DE8D-DA8C-4174-A1E3-50B9CF5227DD}"/>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4632643A-F5D2-40A7-8626-9D1344226EE1}"/>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A75AE45C-20BA-4B6A-9B63-F4649591C2DE}"/>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0B0E6861-FC4E-4C59-8FD3-DFAD2193FE07}"/>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AEB6DFFB-F3D7-4BDD-AA69-F15DE4A58613}"/>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B38777A0-8773-47F3-97C8-49118A8155B7}"/>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0F7E8AFB-910F-409B-B8DA-99DEE9CD976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F8E2857E-6394-4E1F-916A-D863EA29C22E}"/>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69C3FE05-3679-4ACA-8F0C-3441DB037DD4}"/>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C7A7A25F-5571-4AA8-981D-DBBD1B5F393B}"/>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782115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3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2" name="Google Shape;334;p32">
            <a:extLst>
              <a:ext uri="{FF2B5EF4-FFF2-40B4-BE49-F238E27FC236}">
                <a16:creationId xmlns:a16="http://schemas.microsoft.com/office/drawing/2014/main" id="{2C873F0C-CDC0-4727-A62F-8A1D33422E4A}"/>
              </a:ext>
            </a:extLst>
          </p:cNvPr>
          <p:cNvSpPr txBox="1">
            <a:spLocks/>
          </p:cNvSpPr>
          <p:nvPr userDrawn="1"/>
        </p:nvSpPr>
        <p:spPr>
          <a:xfrm>
            <a:off x="-159794" y="1809792"/>
            <a:ext cx="2034958" cy="1691423"/>
          </a:xfrm>
          <a:prstGeom prst="rect">
            <a:avLst/>
          </a:prstGeom>
        </p:spPr>
        <p:txBody>
          <a:bodyPr spcFirstLastPara="1" wrap="square" lIns="68575" tIns="34275" rIns="68575" bIns="34275" anchor="ctr" anchorCtr="0">
            <a:noAutofit/>
          </a:bodyPr>
          <a:lstStyle>
            <a:lvl1pPr algn="l" defTabSz="685800" rtl="0" eaLnBrk="1" latinLnBrk="0" hangingPunct="1">
              <a:lnSpc>
                <a:spcPct val="100000"/>
              </a:lnSpc>
              <a:spcBef>
                <a:spcPct val="0"/>
              </a:spcBef>
              <a:buNone/>
              <a:defRPr sz="2000" b="1" i="1" kern="1200">
                <a:solidFill>
                  <a:schemeClr val="tx1"/>
                </a:solidFill>
                <a:latin typeface="+mn-lt"/>
                <a:ea typeface="+mj-ea"/>
                <a:cs typeface="+mj-cs"/>
              </a:defRPr>
            </a:lvl1pPr>
          </a:lstStyle>
          <a:p>
            <a:pPr algn="r">
              <a:spcBef>
                <a:spcPts val="0"/>
              </a:spcBef>
            </a:pPr>
            <a:endParaRPr lang="es-ES" sz="18000" b="0" i="0" dirty="0">
              <a:solidFill>
                <a:srgbClr val="FFC000"/>
              </a:solidFill>
              <a:latin typeface="e-Ukraine UltraLight" panose="00000900000000000000" pitchFamily="2" charset="0"/>
            </a:endParaRPr>
          </a:p>
        </p:txBody>
      </p:sp>
      <p:sp>
        <p:nvSpPr>
          <p:cNvPr id="115" name="Title 11">
            <a:extLst>
              <a:ext uri="{FF2B5EF4-FFF2-40B4-BE49-F238E27FC236}">
                <a16:creationId xmlns:a16="http://schemas.microsoft.com/office/drawing/2014/main" id="{5A0895A0-0B2C-4FD7-9180-611706A4E4ED}"/>
              </a:ext>
            </a:extLst>
          </p:cNvPr>
          <p:cNvSpPr>
            <a:spLocks noGrp="1"/>
          </p:cNvSpPr>
          <p:nvPr userDrawn="1">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Фото на весь слайд + Текст згори</a:t>
            </a:r>
            <a:endParaRPr lang="en-US" dirty="0"/>
          </a:p>
        </p:txBody>
      </p:sp>
      <p:sp>
        <p:nvSpPr>
          <p:cNvPr id="6" name="Text Placeholder 5">
            <a:extLst>
              <a:ext uri="{FF2B5EF4-FFF2-40B4-BE49-F238E27FC236}">
                <a16:creationId xmlns:a16="http://schemas.microsoft.com/office/drawing/2014/main" id="{4D22184F-9815-4D47-9913-BA42331836D7}"/>
              </a:ext>
            </a:extLst>
          </p:cNvPr>
          <p:cNvSpPr>
            <a:spLocks noGrp="1"/>
          </p:cNvSpPr>
          <p:nvPr userDrawn="1">
            <p:ph type="body" sz="quarter" idx="11" hasCustomPrompt="1"/>
          </p:nvPr>
        </p:nvSpPr>
        <p:spPr>
          <a:xfrm>
            <a:off x="5791200" y="4893227"/>
            <a:ext cx="5705476" cy="1277229"/>
          </a:xfrm>
        </p:spPr>
        <p:txBody>
          <a:bodyPr/>
          <a:lstStyle>
            <a:lvl1pPr algn="r">
              <a:defRPr sz="2000">
                <a:latin typeface="e-Ukraine UltraLight" panose="00000300000000000000" pitchFamily="50" charset="0"/>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pPr lvl="0"/>
            <a:r>
              <a:rPr lang="uk-UA" dirty="0"/>
              <a:t>Короткий текст щодо фото.</a:t>
            </a:r>
            <a:br>
              <a:rPr lang="uk-UA" dirty="0"/>
            </a:br>
            <a:r>
              <a:rPr lang="en-US" dirty="0"/>
              <a:t>e-Ukraine </a:t>
            </a:r>
            <a:r>
              <a:rPr lang="en-US" dirty="0" err="1"/>
              <a:t>UltraLight</a:t>
            </a:r>
            <a:r>
              <a:rPr lang="en-US" dirty="0"/>
              <a:t> 20 pt. </a:t>
            </a:r>
            <a:r>
              <a:rPr lang="uk-UA" dirty="0"/>
              <a:t>Текст має чітко зчитуватись, слід обирати чорний колір тексту для світлих фото, та білий для темних</a:t>
            </a:r>
            <a:endParaRPr lang="en-US" dirty="0"/>
          </a:p>
        </p:txBody>
      </p:sp>
    </p:spTree>
    <p:extLst>
      <p:ext uri="{BB962C8B-B14F-4D97-AF65-F5344CB8AC3E}">
        <p14:creationId xmlns:p14="http://schemas.microsoft.com/office/powerpoint/2010/main" val="32728829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Фото на весь слайд">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65BB7F0-E1E6-4FA5-A64E-611A5D778BF5}"/>
              </a:ext>
            </a:extLst>
          </p:cNvPr>
          <p:cNvSpPr>
            <a:spLocks noGrp="1"/>
          </p:cNvSpPr>
          <p:nvPr>
            <p:ph type="pic" sz="quarter" idx="12" hasCustomPrompt="1"/>
          </p:nvPr>
        </p:nvSpPr>
        <p:spPr>
          <a:xfrm>
            <a:off x="0" y="1098429"/>
            <a:ext cx="12192000" cy="5759571"/>
          </a:xfrm>
        </p:spPr>
        <p:txBody>
          <a:bodyPr/>
          <a:lstStyle>
            <a:lvl1pPr>
              <a:defRPr sz="1600">
                <a:latin typeface="+mn-lt"/>
              </a:defRPr>
            </a:lvl1pPr>
          </a:lstStyle>
          <a:p>
            <a:r>
              <a:rPr lang="uk-UA" dirty="0"/>
              <a:t>Фото</a:t>
            </a:r>
            <a:endParaRPr lang="en-US" dirty="0"/>
          </a:p>
          <a:p>
            <a:r>
              <a:rPr lang="en-US" dirty="0"/>
              <a:t/>
            </a:r>
            <a:br>
              <a:rPr lang="en-US" dirty="0"/>
            </a:br>
            <a:r>
              <a:rPr lang="uk-UA" dirty="0"/>
              <a:t>Для заміни фотографії необхідно </a:t>
            </a:r>
            <a:r>
              <a:rPr lang="uk-UA" dirty="0" err="1"/>
              <a:t>клікнути</a:t>
            </a:r>
            <a:r>
              <a:rPr lang="uk-UA" dirty="0"/>
              <a:t> на фото та натиснути клавішу </a:t>
            </a:r>
            <a:r>
              <a:rPr lang="en-US" dirty="0"/>
              <a:t>DELETE. </a:t>
            </a:r>
            <a:r>
              <a:rPr lang="uk-UA" dirty="0"/>
              <a:t>Після цього </a:t>
            </a:r>
            <a:r>
              <a:rPr lang="uk-UA" dirty="0" err="1"/>
              <a:t>клікнути</a:t>
            </a:r>
            <a:r>
              <a:rPr lang="uk-UA" dirty="0"/>
              <a:t> на кнопці посередині рамки для розміщення нового фото (кнопка з’явиться після вилучення попереднього фото), яка відкриє файловий менеджер для вибору нового фото.</a:t>
            </a:r>
          </a:p>
          <a:p>
            <a:r>
              <a:rPr lang="uk-UA" dirty="0"/>
              <a:t>НЕ МОЖНА заміняти фото через </a:t>
            </a:r>
            <a:r>
              <a:rPr lang="en-US" dirty="0"/>
              <a:t>Change Picture </a:t>
            </a:r>
            <a:r>
              <a:rPr lang="uk-UA" dirty="0"/>
              <a:t>в контекстному меню, оскільки така заміна не здійснює автоматичну обрізку і масштабування фотографії.</a:t>
            </a:r>
          </a:p>
          <a:p>
            <a:r>
              <a:rPr lang="en-US" dirty="0"/>
              <a:t/>
            </a:r>
            <a:br>
              <a:rPr lang="en-US" dirty="0"/>
            </a:br>
            <a:endParaRPr lang="uk-UA" dirty="0"/>
          </a:p>
        </p:txBody>
      </p:sp>
      <p:grpSp>
        <p:nvGrpSpPr>
          <p:cNvPr id="3" name="Group 2">
            <a:extLst>
              <a:ext uri="{FF2B5EF4-FFF2-40B4-BE49-F238E27FC236}">
                <a16:creationId xmlns:a16="http://schemas.microsoft.com/office/drawing/2014/main" id="{6B59219C-D787-4C52-84CE-5791B97C4AAA}"/>
              </a:ext>
            </a:extLst>
          </p:cNvPr>
          <p:cNvGrpSpPr/>
          <p:nvPr userDrawn="1"/>
        </p:nvGrpSpPr>
        <p:grpSpPr>
          <a:xfrm>
            <a:off x="0" y="209380"/>
            <a:ext cx="12192000" cy="900000"/>
            <a:chOff x="0" y="209380"/>
            <a:chExt cx="12192000" cy="900000"/>
          </a:xfrm>
        </p:grpSpPr>
        <p:sp>
          <p:nvSpPr>
            <p:cNvPr id="114" name="Freeform: Shape 113">
              <a:extLst>
                <a:ext uri="{FF2B5EF4-FFF2-40B4-BE49-F238E27FC236}">
                  <a16:creationId xmlns:a16="http://schemas.microsoft.com/office/drawing/2014/main" id="{7A8C5993-423F-4A15-96C5-AF4824B88996}"/>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7" name="Graphic 22">
              <a:extLst>
                <a:ext uri="{FF2B5EF4-FFF2-40B4-BE49-F238E27FC236}">
                  <a16:creationId xmlns:a16="http://schemas.microsoft.com/office/drawing/2014/main" id="{9F6FBACA-3C30-4051-A399-C3E531C6A12B}"/>
                </a:ext>
              </a:extLst>
            </p:cNvPr>
            <p:cNvGrpSpPr/>
            <p:nvPr/>
          </p:nvGrpSpPr>
          <p:grpSpPr>
            <a:xfrm>
              <a:off x="10915649" y="368867"/>
              <a:ext cx="581025" cy="581025"/>
              <a:chOff x="11049699" y="311944"/>
              <a:chExt cx="446976" cy="446976"/>
            </a:xfrm>
          </p:grpSpPr>
          <p:sp>
            <p:nvSpPr>
              <p:cNvPr id="28" name="Freeform: Shape 27">
                <a:extLst>
                  <a:ext uri="{FF2B5EF4-FFF2-40B4-BE49-F238E27FC236}">
                    <a16:creationId xmlns:a16="http://schemas.microsoft.com/office/drawing/2014/main" id="{D7EEAD40-ECE4-487D-9C4F-6D2FE43D0B9F}"/>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6BFC6F9-799A-478B-9D7D-02624EEA0635}"/>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A85DEE6C-EE72-4564-878E-8CD86B0B31F4}"/>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EAAB44E1-988C-49AE-901E-8DF2FAB58616}"/>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94354EB6-A075-47F9-8023-27E4303DCF17}"/>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DD3842F1-7FF8-4AC7-8186-B8B24E1ED329}"/>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AC896309-B673-4E0C-AB91-43BDB13D26AD}"/>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E0262554-708A-43A3-B697-3D22ADAB725B}"/>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5154DE8D-DA8C-4174-A1E3-50B9CF5227DD}"/>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4632643A-F5D2-40A7-8626-9D1344226EE1}"/>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A75AE45C-20BA-4B6A-9B63-F4649591C2DE}"/>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0B0E6861-FC4E-4C59-8FD3-DFAD2193FE07}"/>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40" name="Freeform: Shape 39">
                <a:extLst>
                  <a:ext uri="{FF2B5EF4-FFF2-40B4-BE49-F238E27FC236}">
                    <a16:creationId xmlns:a16="http://schemas.microsoft.com/office/drawing/2014/main" id="{AEB6DFFB-F3D7-4BDD-AA69-F15DE4A58613}"/>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41" name="Freeform: Shape 40">
                <a:extLst>
                  <a:ext uri="{FF2B5EF4-FFF2-40B4-BE49-F238E27FC236}">
                    <a16:creationId xmlns:a16="http://schemas.microsoft.com/office/drawing/2014/main" id="{B38777A0-8773-47F3-97C8-49118A8155B7}"/>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42" name="Freeform: Shape 41">
                <a:extLst>
                  <a:ext uri="{FF2B5EF4-FFF2-40B4-BE49-F238E27FC236}">
                    <a16:creationId xmlns:a16="http://schemas.microsoft.com/office/drawing/2014/main" id="{0F7E8AFB-910F-409B-B8DA-99DEE9CD9761}"/>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43" name="Freeform: Shape 42">
                <a:extLst>
                  <a:ext uri="{FF2B5EF4-FFF2-40B4-BE49-F238E27FC236}">
                    <a16:creationId xmlns:a16="http://schemas.microsoft.com/office/drawing/2014/main" id="{F8E2857E-6394-4E1F-916A-D863EA29C22E}"/>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44" name="Freeform: Shape 43">
                <a:extLst>
                  <a:ext uri="{FF2B5EF4-FFF2-40B4-BE49-F238E27FC236}">
                    <a16:creationId xmlns:a16="http://schemas.microsoft.com/office/drawing/2014/main" id="{69C3FE05-3679-4ACA-8F0C-3441DB037DD4}"/>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45" name="Freeform: Shape 44">
                <a:extLst>
                  <a:ext uri="{FF2B5EF4-FFF2-40B4-BE49-F238E27FC236}">
                    <a16:creationId xmlns:a16="http://schemas.microsoft.com/office/drawing/2014/main" id="{C7A7A25F-5571-4AA8-981D-DBBD1B5F393B}"/>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86687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3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2" name="Google Shape;334;p32">
            <a:extLst>
              <a:ext uri="{FF2B5EF4-FFF2-40B4-BE49-F238E27FC236}">
                <a16:creationId xmlns:a16="http://schemas.microsoft.com/office/drawing/2014/main" id="{2C873F0C-CDC0-4727-A62F-8A1D33422E4A}"/>
              </a:ext>
            </a:extLst>
          </p:cNvPr>
          <p:cNvSpPr txBox="1">
            <a:spLocks/>
          </p:cNvSpPr>
          <p:nvPr userDrawn="1"/>
        </p:nvSpPr>
        <p:spPr>
          <a:xfrm>
            <a:off x="-159794" y="1809792"/>
            <a:ext cx="2034958" cy="1691423"/>
          </a:xfrm>
          <a:prstGeom prst="rect">
            <a:avLst/>
          </a:prstGeom>
        </p:spPr>
        <p:txBody>
          <a:bodyPr spcFirstLastPara="1" wrap="square" lIns="68575" tIns="34275" rIns="68575" bIns="34275" anchor="ctr" anchorCtr="0">
            <a:noAutofit/>
          </a:bodyPr>
          <a:lstStyle>
            <a:lvl1pPr algn="l" defTabSz="685800" rtl="0" eaLnBrk="1" latinLnBrk="0" hangingPunct="1">
              <a:lnSpc>
                <a:spcPct val="100000"/>
              </a:lnSpc>
              <a:spcBef>
                <a:spcPct val="0"/>
              </a:spcBef>
              <a:buNone/>
              <a:defRPr sz="2000" b="1" i="1" kern="1200">
                <a:solidFill>
                  <a:schemeClr val="tx1"/>
                </a:solidFill>
                <a:latin typeface="+mn-lt"/>
                <a:ea typeface="+mj-ea"/>
                <a:cs typeface="+mj-cs"/>
              </a:defRPr>
            </a:lvl1pPr>
          </a:lstStyle>
          <a:p>
            <a:pPr algn="r">
              <a:spcBef>
                <a:spcPts val="0"/>
              </a:spcBef>
            </a:pPr>
            <a:endParaRPr lang="es-ES" sz="18000" b="0" i="0" dirty="0">
              <a:solidFill>
                <a:srgbClr val="FFC000"/>
              </a:solidFill>
              <a:latin typeface="e-Ukraine UltraLight" panose="00000900000000000000" pitchFamily="2" charset="0"/>
            </a:endParaRPr>
          </a:p>
        </p:txBody>
      </p:sp>
      <p:sp>
        <p:nvSpPr>
          <p:cNvPr id="115" name="Title 11">
            <a:extLst>
              <a:ext uri="{FF2B5EF4-FFF2-40B4-BE49-F238E27FC236}">
                <a16:creationId xmlns:a16="http://schemas.microsoft.com/office/drawing/2014/main" id="{5A0895A0-0B2C-4FD7-9180-611706A4E4ED}"/>
              </a:ext>
            </a:extLst>
          </p:cNvPr>
          <p:cNvSpPr>
            <a:spLocks noGrp="1"/>
          </p:cNvSpPr>
          <p:nvPr userDrawn="1">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Фото на весь слайд</a:t>
            </a:r>
            <a:endParaRPr lang="en-US" dirty="0"/>
          </a:p>
        </p:txBody>
      </p:sp>
    </p:spTree>
    <p:extLst>
      <p:ext uri="{BB962C8B-B14F-4D97-AF65-F5344CB8AC3E}">
        <p14:creationId xmlns:p14="http://schemas.microsoft.com/office/powerpoint/2010/main" val="305890211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4 ключові пункти із заголовком">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21034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D32FD40-7671-43E7-B914-22903CE07076}"/>
              </a:ext>
            </a:extLst>
          </p:cNvPr>
          <p:cNvSpPr>
            <a:spLocks noGrp="1"/>
          </p:cNvSpPr>
          <p:nvPr>
            <p:ph type="body" sz="quarter" idx="10" hasCustomPrompt="1"/>
          </p:nvPr>
        </p:nvSpPr>
        <p:spPr>
          <a:xfrm>
            <a:off x="1851659" y="1735879"/>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851660" y="2297145"/>
            <a:ext cx="3322956" cy="1493202"/>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sp>
        <p:nvSpPr>
          <p:cNvPr id="13" name="Text Placeholder 6">
            <a:extLst>
              <a:ext uri="{FF2B5EF4-FFF2-40B4-BE49-F238E27FC236}">
                <a16:creationId xmlns:a16="http://schemas.microsoft.com/office/drawing/2014/main" id="{41153F55-3165-4F01-99C3-0195F3E54F8E}"/>
              </a:ext>
            </a:extLst>
          </p:cNvPr>
          <p:cNvSpPr>
            <a:spLocks noGrp="1"/>
          </p:cNvSpPr>
          <p:nvPr>
            <p:ph type="body" sz="quarter" idx="12" hasCustomPrompt="1"/>
          </p:nvPr>
        </p:nvSpPr>
        <p:spPr>
          <a:xfrm>
            <a:off x="1851659" y="4310415"/>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14" name="Text Placeholder 10">
            <a:extLst>
              <a:ext uri="{FF2B5EF4-FFF2-40B4-BE49-F238E27FC236}">
                <a16:creationId xmlns:a16="http://schemas.microsoft.com/office/drawing/2014/main" id="{C7D1B35D-0F85-42B8-9CD4-03023F6F0FD5}"/>
              </a:ext>
            </a:extLst>
          </p:cNvPr>
          <p:cNvSpPr>
            <a:spLocks noGrp="1"/>
          </p:cNvSpPr>
          <p:nvPr>
            <p:ph type="body" sz="quarter" idx="13" hasCustomPrompt="1"/>
          </p:nvPr>
        </p:nvSpPr>
        <p:spPr>
          <a:xfrm>
            <a:off x="1851660" y="4871681"/>
            <a:ext cx="3322956" cy="1493202"/>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sp>
        <p:nvSpPr>
          <p:cNvPr id="15" name="Text Placeholder 6">
            <a:extLst>
              <a:ext uri="{FF2B5EF4-FFF2-40B4-BE49-F238E27FC236}">
                <a16:creationId xmlns:a16="http://schemas.microsoft.com/office/drawing/2014/main" id="{4B3900D2-A2BA-4CEF-B9F9-4FA20D7609CA}"/>
              </a:ext>
            </a:extLst>
          </p:cNvPr>
          <p:cNvSpPr>
            <a:spLocks noGrp="1"/>
          </p:cNvSpPr>
          <p:nvPr>
            <p:ph type="body" sz="quarter" idx="14" hasCustomPrompt="1"/>
          </p:nvPr>
        </p:nvSpPr>
        <p:spPr>
          <a:xfrm>
            <a:off x="7592476" y="1735879"/>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7592477" y="2297145"/>
            <a:ext cx="3322956" cy="1493202"/>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sp>
        <p:nvSpPr>
          <p:cNvPr id="17" name="Text Placeholder 6">
            <a:extLst>
              <a:ext uri="{FF2B5EF4-FFF2-40B4-BE49-F238E27FC236}">
                <a16:creationId xmlns:a16="http://schemas.microsoft.com/office/drawing/2014/main" id="{D6E93D9F-3DA6-47CA-9A2E-F77FA3AEE95F}"/>
              </a:ext>
            </a:extLst>
          </p:cNvPr>
          <p:cNvSpPr>
            <a:spLocks noGrp="1"/>
          </p:cNvSpPr>
          <p:nvPr>
            <p:ph type="body" sz="quarter" idx="16" hasCustomPrompt="1"/>
          </p:nvPr>
        </p:nvSpPr>
        <p:spPr>
          <a:xfrm>
            <a:off x="7592476" y="4310415"/>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18" name="Text Placeholder 10">
            <a:extLst>
              <a:ext uri="{FF2B5EF4-FFF2-40B4-BE49-F238E27FC236}">
                <a16:creationId xmlns:a16="http://schemas.microsoft.com/office/drawing/2014/main" id="{686B627E-5203-4B50-8481-5FDF27DBEF23}"/>
              </a:ext>
            </a:extLst>
          </p:cNvPr>
          <p:cNvSpPr>
            <a:spLocks noGrp="1"/>
          </p:cNvSpPr>
          <p:nvPr>
            <p:ph type="body" sz="quarter" idx="17" hasCustomPrompt="1"/>
          </p:nvPr>
        </p:nvSpPr>
        <p:spPr>
          <a:xfrm>
            <a:off x="7592477" y="4871681"/>
            <a:ext cx="3322956" cy="1252577"/>
          </a:xfrm>
        </p:spPr>
        <p:txBody>
          <a:bodyP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dirty="0"/>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en-US" dirty="0"/>
              <a:t>3-4 </a:t>
            </a:r>
            <a:r>
              <a:rPr lang="uk-UA" dirty="0"/>
              <a:t>ключові пункти із заголовками</a:t>
            </a:r>
            <a:endParaRPr lang="en-US" dirty="0"/>
          </a:p>
        </p:txBody>
      </p:sp>
      <p:sp>
        <p:nvSpPr>
          <p:cNvPr id="47" name="Slide Number Placeholder 8">
            <a:extLst>
              <a:ext uri="{FF2B5EF4-FFF2-40B4-BE49-F238E27FC236}">
                <a16:creationId xmlns:a16="http://schemas.microsoft.com/office/drawing/2014/main" id="{447644E2-89E6-4A29-A1E3-FAEB32780EA0}"/>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4578861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4 ключові пункти">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586134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2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851660" y="1573245"/>
            <a:ext cx="3322956" cy="1493202"/>
          </a:xfrm>
        </p:spPr>
        <p:txBody>
          <a:bodyPr anchor="ct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sp>
        <p:nvSpPr>
          <p:cNvPr id="14" name="Text Placeholder 10">
            <a:extLst>
              <a:ext uri="{FF2B5EF4-FFF2-40B4-BE49-F238E27FC236}">
                <a16:creationId xmlns:a16="http://schemas.microsoft.com/office/drawing/2014/main" id="{C7D1B35D-0F85-42B8-9CD4-03023F6F0FD5}"/>
              </a:ext>
            </a:extLst>
          </p:cNvPr>
          <p:cNvSpPr>
            <a:spLocks noGrp="1"/>
          </p:cNvSpPr>
          <p:nvPr>
            <p:ph type="body" sz="quarter" idx="13" hasCustomPrompt="1"/>
          </p:nvPr>
        </p:nvSpPr>
        <p:spPr>
          <a:xfrm>
            <a:off x="1851660" y="4165312"/>
            <a:ext cx="3322956" cy="1493202"/>
          </a:xfrm>
        </p:spPr>
        <p:txBody>
          <a:bodyPr anchor="ct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7592477" y="1573245"/>
            <a:ext cx="3322956" cy="1493202"/>
          </a:xfrm>
        </p:spPr>
        <p:txBody>
          <a:bodyPr anchor="ct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sp>
        <p:nvSpPr>
          <p:cNvPr id="18" name="Text Placeholder 10">
            <a:extLst>
              <a:ext uri="{FF2B5EF4-FFF2-40B4-BE49-F238E27FC236}">
                <a16:creationId xmlns:a16="http://schemas.microsoft.com/office/drawing/2014/main" id="{686B627E-5203-4B50-8481-5FDF27DBEF23}"/>
              </a:ext>
            </a:extLst>
          </p:cNvPr>
          <p:cNvSpPr>
            <a:spLocks noGrp="1"/>
          </p:cNvSpPr>
          <p:nvPr>
            <p:ph type="body" sz="quarter" idx="17" hasCustomPrompt="1"/>
          </p:nvPr>
        </p:nvSpPr>
        <p:spPr>
          <a:xfrm>
            <a:off x="7592477" y="4165312"/>
            <a:ext cx="3322956" cy="1493202"/>
          </a:xfrm>
        </p:spPr>
        <p:txBody>
          <a:bodyPr anchor="ctr"/>
          <a:lstStyle>
            <a:lvl1pPr>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en-US" dirty="0"/>
              <a:t/>
            </a:r>
            <a:br>
              <a:rPr lang="en-US" dirty="0"/>
            </a:br>
            <a:r>
              <a:rPr lang="en-US" dirty="0"/>
              <a:t>1</a:t>
            </a:r>
            <a:r>
              <a:rPr lang="uk-UA" dirty="0"/>
              <a:t>6</a:t>
            </a:r>
            <a:r>
              <a:rPr lang="en-US" dirty="0"/>
              <a:t> pt.</a:t>
            </a:r>
            <a:endParaRPr lang="uk-UA" dirty="0"/>
          </a:p>
        </p:txBody>
      </p:sp>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en-US" dirty="0"/>
              <a:t>3-4 </a:t>
            </a:r>
            <a:r>
              <a:rPr lang="uk-UA" dirty="0"/>
              <a:t>ключові пункти із заголовком</a:t>
            </a:r>
            <a:endParaRPr lang="en-US" dirty="0"/>
          </a:p>
        </p:txBody>
      </p:sp>
      <p:sp>
        <p:nvSpPr>
          <p:cNvPr id="45" name="Slide Number Placeholder 8">
            <a:extLst>
              <a:ext uri="{FF2B5EF4-FFF2-40B4-BE49-F238E27FC236}">
                <a16:creationId xmlns:a16="http://schemas.microsoft.com/office/drawing/2014/main" id="{0BFA5BBE-61EF-443C-B6AA-1C1546636666}"/>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02616064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6 ключових пунктів">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730984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3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D32FD40-7671-43E7-B914-22903CE07076}"/>
              </a:ext>
            </a:extLst>
          </p:cNvPr>
          <p:cNvSpPr>
            <a:spLocks noGrp="1"/>
          </p:cNvSpPr>
          <p:nvPr>
            <p:ph type="body" sz="quarter" idx="10" hasCustomPrompt="1"/>
          </p:nvPr>
        </p:nvSpPr>
        <p:spPr>
          <a:xfrm>
            <a:off x="1851659" y="1323232"/>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851660" y="1879666"/>
            <a:ext cx="3322956" cy="1021413"/>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15" name="Text Placeholder 6">
            <a:extLst>
              <a:ext uri="{FF2B5EF4-FFF2-40B4-BE49-F238E27FC236}">
                <a16:creationId xmlns:a16="http://schemas.microsoft.com/office/drawing/2014/main" id="{4B3900D2-A2BA-4CEF-B9F9-4FA20D7609CA}"/>
              </a:ext>
            </a:extLst>
          </p:cNvPr>
          <p:cNvSpPr>
            <a:spLocks noGrp="1"/>
          </p:cNvSpPr>
          <p:nvPr>
            <p:ph type="body" sz="quarter" idx="14" hasCustomPrompt="1"/>
          </p:nvPr>
        </p:nvSpPr>
        <p:spPr>
          <a:xfrm>
            <a:off x="7592476" y="1323232"/>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7592477" y="1879666"/>
            <a:ext cx="3322956" cy="1021413"/>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5-6</a:t>
            </a:r>
            <a:r>
              <a:rPr lang="en-US" dirty="0"/>
              <a:t> </a:t>
            </a:r>
            <a:r>
              <a:rPr lang="uk-UA" dirty="0"/>
              <a:t>ключових пунктів із заголовками</a:t>
            </a:r>
            <a:endParaRPr lang="en-US" dirty="0"/>
          </a:p>
        </p:txBody>
      </p:sp>
      <p:sp>
        <p:nvSpPr>
          <p:cNvPr id="45" name="Text Placeholder 6">
            <a:extLst>
              <a:ext uri="{FF2B5EF4-FFF2-40B4-BE49-F238E27FC236}">
                <a16:creationId xmlns:a16="http://schemas.microsoft.com/office/drawing/2014/main" id="{67714CB0-F01D-4738-BC49-03F73E42D7CF}"/>
              </a:ext>
            </a:extLst>
          </p:cNvPr>
          <p:cNvSpPr>
            <a:spLocks noGrp="1"/>
          </p:cNvSpPr>
          <p:nvPr>
            <p:ph type="body" sz="quarter" idx="16" hasCustomPrompt="1"/>
          </p:nvPr>
        </p:nvSpPr>
        <p:spPr>
          <a:xfrm>
            <a:off x="1851659" y="3197002"/>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46" name="Text Placeholder 10">
            <a:extLst>
              <a:ext uri="{FF2B5EF4-FFF2-40B4-BE49-F238E27FC236}">
                <a16:creationId xmlns:a16="http://schemas.microsoft.com/office/drawing/2014/main" id="{A3AC86C2-07C0-4605-AE2A-8D24AD8912CC}"/>
              </a:ext>
            </a:extLst>
          </p:cNvPr>
          <p:cNvSpPr>
            <a:spLocks noGrp="1"/>
          </p:cNvSpPr>
          <p:nvPr>
            <p:ph type="body" sz="quarter" idx="17" hasCustomPrompt="1"/>
          </p:nvPr>
        </p:nvSpPr>
        <p:spPr>
          <a:xfrm>
            <a:off x="1851660" y="3753436"/>
            <a:ext cx="3322956" cy="1021413"/>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7" name="Text Placeholder 6">
            <a:extLst>
              <a:ext uri="{FF2B5EF4-FFF2-40B4-BE49-F238E27FC236}">
                <a16:creationId xmlns:a16="http://schemas.microsoft.com/office/drawing/2014/main" id="{6D5616A5-79C2-4B9A-BF70-B36937A2A203}"/>
              </a:ext>
            </a:extLst>
          </p:cNvPr>
          <p:cNvSpPr>
            <a:spLocks noGrp="1"/>
          </p:cNvSpPr>
          <p:nvPr>
            <p:ph type="body" sz="quarter" idx="18" hasCustomPrompt="1"/>
          </p:nvPr>
        </p:nvSpPr>
        <p:spPr>
          <a:xfrm>
            <a:off x="7592476" y="3197002"/>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48" name="Text Placeholder 10">
            <a:extLst>
              <a:ext uri="{FF2B5EF4-FFF2-40B4-BE49-F238E27FC236}">
                <a16:creationId xmlns:a16="http://schemas.microsoft.com/office/drawing/2014/main" id="{D387B59B-DC75-4B45-8BF0-A64A89344E4C}"/>
              </a:ext>
            </a:extLst>
          </p:cNvPr>
          <p:cNvSpPr>
            <a:spLocks noGrp="1"/>
          </p:cNvSpPr>
          <p:nvPr>
            <p:ph type="body" sz="quarter" idx="19" hasCustomPrompt="1"/>
          </p:nvPr>
        </p:nvSpPr>
        <p:spPr>
          <a:xfrm>
            <a:off x="7592477" y="3753436"/>
            <a:ext cx="3322956" cy="1021413"/>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9" name="Text Placeholder 6">
            <a:extLst>
              <a:ext uri="{FF2B5EF4-FFF2-40B4-BE49-F238E27FC236}">
                <a16:creationId xmlns:a16="http://schemas.microsoft.com/office/drawing/2014/main" id="{4DDB2EF7-28EF-4DA9-BDDA-B9548FB218F6}"/>
              </a:ext>
            </a:extLst>
          </p:cNvPr>
          <p:cNvSpPr>
            <a:spLocks noGrp="1"/>
          </p:cNvSpPr>
          <p:nvPr>
            <p:ph type="body" sz="quarter" idx="20" hasCustomPrompt="1"/>
          </p:nvPr>
        </p:nvSpPr>
        <p:spPr>
          <a:xfrm>
            <a:off x="1851659" y="5070772"/>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50" name="Text Placeholder 10">
            <a:extLst>
              <a:ext uri="{FF2B5EF4-FFF2-40B4-BE49-F238E27FC236}">
                <a16:creationId xmlns:a16="http://schemas.microsoft.com/office/drawing/2014/main" id="{79D61905-E3A6-475A-B25D-B456E54B053D}"/>
              </a:ext>
            </a:extLst>
          </p:cNvPr>
          <p:cNvSpPr>
            <a:spLocks noGrp="1"/>
          </p:cNvSpPr>
          <p:nvPr>
            <p:ph type="body" sz="quarter" idx="21" hasCustomPrompt="1"/>
          </p:nvPr>
        </p:nvSpPr>
        <p:spPr>
          <a:xfrm>
            <a:off x="1851660" y="5627206"/>
            <a:ext cx="3322956" cy="1021413"/>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51" name="Text Placeholder 6">
            <a:extLst>
              <a:ext uri="{FF2B5EF4-FFF2-40B4-BE49-F238E27FC236}">
                <a16:creationId xmlns:a16="http://schemas.microsoft.com/office/drawing/2014/main" id="{1B174185-1B4E-49E8-A5BD-2273CE0D7A09}"/>
              </a:ext>
            </a:extLst>
          </p:cNvPr>
          <p:cNvSpPr>
            <a:spLocks noGrp="1"/>
          </p:cNvSpPr>
          <p:nvPr>
            <p:ph type="body" sz="quarter" idx="22" hasCustomPrompt="1"/>
          </p:nvPr>
        </p:nvSpPr>
        <p:spPr>
          <a:xfrm>
            <a:off x="7592476" y="5070772"/>
            <a:ext cx="3322956" cy="528637"/>
          </a:xfrm>
        </p:spPr>
        <p:txBody>
          <a:bodyPr/>
          <a:lstStyle>
            <a:lvl1pPr>
              <a:defRPr sz="1600">
                <a:solidFill>
                  <a:schemeClr val="accent2"/>
                </a:solidFill>
                <a:latin typeface="+mj-lt"/>
              </a:defRPr>
            </a:lvl1pPr>
            <a:lvl2pPr>
              <a:defRPr sz="2000">
                <a:latin typeface="e-Ukraine UltraLight" panose="00000700000000000000" pitchFamily="2" charset="0"/>
              </a:defRPr>
            </a:lvl2pPr>
            <a:lvl3pPr>
              <a:defRPr sz="2000">
                <a:latin typeface="e-Ukraine UltraLight" panose="00000700000000000000" pitchFamily="2" charset="0"/>
              </a:defRPr>
            </a:lvl3pPr>
            <a:lvl4pPr>
              <a:defRPr sz="2000">
                <a:latin typeface="e-Ukraine UltraLight" panose="00000700000000000000" pitchFamily="2" charset="0"/>
              </a:defRPr>
            </a:lvl4pPr>
            <a:lvl5pPr>
              <a:defRPr sz="2000">
                <a:latin typeface="e-Ukraine UltraLight" panose="00000700000000000000" pitchFamily="2" charset="0"/>
              </a:defRPr>
            </a:lvl5pPr>
          </a:lstStyle>
          <a:p>
            <a:r>
              <a:rPr lang="uk-UA" dirty="0"/>
              <a:t>Заголовок </a:t>
            </a:r>
            <a:r>
              <a:rPr lang="en-US" dirty="0"/>
              <a:t>e-Ukraine</a:t>
            </a:r>
            <a:br>
              <a:rPr lang="en-US" dirty="0"/>
            </a:br>
            <a:r>
              <a:rPr lang="en-US" dirty="0"/>
              <a:t>Bold </a:t>
            </a:r>
            <a:r>
              <a:rPr lang="uk-UA" dirty="0"/>
              <a:t>16</a:t>
            </a:r>
            <a:r>
              <a:rPr lang="en-US" dirty="0"/>
              <a:t> pt. </a:t>
            </a:r>
            <a:r>
              <a:rPr lang="uk-UA" dirty="0"/>
              <a:t>До 2 рядків</a:t>
            </a:r>
          </a:p>
        </p:txBody>
      </p:sp>
      <p:sp>
        <p:nvSpPr>
          <p:cNvPr id="52" name="Text Placeholder 10">
            <a:extLst>
              <a:ext uri="{FF2B5EF4-FFF2-40B4-BE49-F238E27FC236}">
                <a16:creationId xmlns:a16="http://schemas.microsoft.com/office/drawing/2014/main" id="{76C30524-6881-4878-9F78-34C857986560}"/>
              </a:ext>
            </a:extLst>
          </p:cNvPr>
          <p:cNvSpPr>
            <a:spLocks noGrp="1"/>
          </p:cNvSpPr>
          <p:nvPr>
            <p:ph type="body" sz="quarter" idx="23" hasCustomPrompt="1"/>
          </p:nvPr>
        </p:nvSpPr>
        <p:spPr>
          <a:xfrm>
            <a:off x="7592477" y="5627206"/>
            <a:ext cx="3322956" cy="1021413"/>
          </a:xfrm>
        </p:spPr>
        <p:txBody>
          <a:bodyP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3" name="Slide Number Placeholder 8">
            <a:extLst>
              <a:ext uri="{FF2B5EF4-FFF2-40B4-BE49-F238E27FC236}">
                <a16:creationId xmlns:a16="http://schemas.microsoft.com/office/drawing/2014/main" id="{11A2FA34-477D-4A56-AD05-F78BF5EFEB7A}"/>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52643211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5-6 ключових пунктів">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525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9623A69F-730E-47E6-9AFD-84BC2F0CD095}"/>
              </a:ext>
            </a:extLst>
          </p:cNvPr>
          <p:cNvSpPr>
            <a:spLocks noGrp="1"/>
          </p:cNvSpPr>
          <p:nvPr>
            <p:ph type="body" sz="quarter" idx="11" hasCustomPrompt="1"/>
          </p:nvPr>
        </p:nvSpPr>
        <p:spPr>
          <a:xfrm>
            <a:off x="1851660" y="1404404"/>
            <a:ext cx="3322956" cy="1123554"/>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16" name="Text Placeholder 10">
            <a:extLst>
              <a:ext uri="{FF2B5EF4-FFF2-40B4-BE49-F238E27FC236}">
                <a16:creationId xmlns:a16="http://schemas.microsoft.com/office/drawing/2014/main" id="{3979B224-79E8-4F80-87AA-DAD6E014CDFC}"/>
              </a:ext>
            </a:extLst>
          </p:cNvPr>
          <p:cNvSpPr>
            <a:spLocks noGrp="1"/>
          </p:cNvSpPr>
          <p:nvPr>
            <p:ph type="body" sz="quarter" idx="15" hasCustomPrompt="1"/>
          </p:nvPr>
        </p:nvSpPr>
        <p:spPr>
          <a:xfrm>
            <a:off x="7592477" y="1404404"/>
            <a:ext cx="3322956" cy="1123554"/>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grpSp>
        <p:nvGrpSpPr>
          <p:cNvPr id="12" name="Group 11">
            <a:extLst>
              <a:ext uri="{FF2B5EF4-FFF2-40B4-BE49-F238E27FC236}">
                <a16:creationId xmlns:a16="http://schemas.microsoft.com/office/drawing/2014/main" id="{876FB2A2-4683-4726-8DBB-1D51C6A17FAA}"/>
              </a:ext>
            </a:extLst>
          </p:cNvPr>
          <p:cNvGrpSpPr/>
          <p:nvPr userDrawn="1"/>
        </p:nvGrpSpPr>
        <p:grpSpPr>
          <a:xfrm>
            <a:off x="0" y="209380"/>
            <a:ext cx="12192000" cy="900000"/>
            <a:chOff x="0" y="209380"/>
            <a:chExt cx="12192000" cy="900000"/>
          </a:xfrm>
        </p:grpSpPr>
        <p:sp>
          <p:nvSpPr>
            <p:cNvPr id="20" name="Freeform: Shape 19">
              <a:extLst>
                <a:ext uri="{FF2B5EF4-FFF2-40B4-BE49-F238E27FC236}">
                  <a16:creationId xmlns:a16="http://schemas.microsoft.com/office/drawing/2014/main" id="{71AEB5C3-FDAE-4B07-BAE6-73D51CCA8D7E}"/>
                </a:ext>
              </a:extLst>
            </p:cNvPr>
            <p:cNvSpPr/>
            <p:nvPr userDrawn="1"/>
          </p:nvSpPr>
          <p:spPr>
            <a:xfrm>
              <a:off x="0" y="209380"/>
              <a:ext cx="12192000" cy="900000"/>
            </a:xfrm>
            <a:custGeom>
              <a:avLst/>
              <a:gdLst>
                <a:gd name="connsiteX0" fmla="*/ 0 w 12192000"/>
                <a:gd name="connsiteY0" fmla="*/ 0 h 900000"/>
                <a:gd name="connsiteX1" fmla="*/ 12192000 w 12192000"/>
                <a:gd name="connsiteY1" fmla="*/ 0 h 900000"/>
                <a:gd name="connsiteX2" fmla="*/ 12192000 w 12192000"/>
                <a:gd name="connsiteY2" fmla="*/ 25201 h 900000"/>
                <a:gd name="connsiteX3" fmla="*/ 10468853 w 12192000"/>
                <a:gd name="connsiteY3" fmla="*/ 25201 h 900000"/>
                <a:gd name="connsiteX4" fmla="*/ 9721697 w 12192000"/>
                <a:gd name="connsiteY4" fmla="*/ 874800 h 900000"/>
                <a:gd name="connsiteX5" fmla="*/ 12192000 w 12192000"/>
                <a:gd name="connsiteY5" fmla="*/ 874800 h 900000"/>
                <a:gd name="connsiteX6" fmla="*/ 12192000 w 12192000"/>
                <a:gd name="connsiteY6" fmla="*/ 900000 h 900000"/>
                <a:gd name="connsiteX7" fmla="*/ 0 w 12192000"/>
                <a:gd name="connsiteY7"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900000">
                  <a:moveTo>
                    <a:pt x="0" y="0"/>
                  </a:moveTo>
                  <a:lnTo>
                    <a:pt x="12192000" y="0"/>
                  </a:lnTo>
                  <a:lnTo>
                    <a:pt x="12192000" y="25201"/>
                  </a:lnTo>
                  <a:lnTo>
                    <a:pt x="10468853" y="25201"/>
                  </a:lnTo>
                  <a:lnTo>
                    <a:pt x="9721697" y="874800"/>
                  </a:lnTo>
                  <a:lnTo>
                    <a:pt x="12192000" y="874800"/>
                  </a:lnTo>
                  <a:lnTo>
                    <a:pt x="12192000" y="900000"/>
                  </a:lnTo>
                  <a:lnTo>
                    <a:pt x="0" y="900000"/>
                  </a:lnTo>
                  <a:close/>
                </a:path>
              </a:pathLst>
            </a:custGeom>
            <a:solidFill>
              <a:schemeClr val="accent1"/>
            </a:solidFill>
            <a:ln w="12167" cap="flat">
              <a:noFill/>
              <a:prstDash val="solid"/>
              <a:miter/>
            </a:ln>
          </p:spPr>
          <p:txBody>
            <a:bodyPr rtlCol="0" anchor="ctr"/>
            <a:lstStyle/>
            <a:p>
              <a:endParaRPr lang="uk-UA"/>
            </a:p>
          </p:txBody>
        </p:sp>
        <p:grpSp>
          <p:nvGrpSpPr>
            <p:cNvPr id="21" name="Graphic 22">
              <a:extLst>
                <a:ext uri="{FF2B5EF4-FFF2-40B4-BE49-F238E27FC236}">
                  <a16:creationId xmlns:a16="http://schemas.microsoft.com/office/drawing/2014/main" id="{49B1C0C4-C5F4-4719-9321-C8A7A0F7500E}"/>
                </a:ext>
              </a:extLst>
            </p:cNvPr>
            <p:cNvGrpSpPr/>
            <p:nvPr/>
          </p:nvGrpSpPr>
          <p:grpSpPr>
            <a:xfrm>
              <a:off x="10915649" y="368867"/>
              <a:ext cx="581025" cy="581025"/>
              <a:chOff x="11049699" y="311944"/>
              <a:chExt cx="446976" cy="446976"/>
            </a:xfrm>
          </p:grpSpPr>
          <p:sp>
            <p:nvSpPr>
              <p:cNvPr id="22" name="Freeform: Shape 21">
                <a:extLst>
                  <a:ext uri="{FF2B5EF4-FFF2-40B4-BE49-F238E27FC236}">
                    <a16:creationId xmlns:a16="http://schemas.microsoft.com/office/drawing/2014/main" id="{2FA24C4C-E4D7-4D30-859E-D30800D4E016}"/>
                  </a:ext>
                </a:extLst>
              </p:cNvPr>
              <p:cNvSpPr/>
              <p:nvPr/>
            </p:nvSpPr>
            <p:spPr>
              <a:xfrm>
                <a:off x="11049532" y="54042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3" name="Freeform: Shape 22">
                <a:extLst>
                  <a:ext uri="{FF2B5EF4-FFF2-40B4-BE49-F238E27FC236}">
                    <a16:creationId xmlns:a16="http://schemas.microsoft.com/office/drawing/2014/main" id="{689C8ED5-19AD-4456-9C49-D8D6B0911DD3}"/>
                  </a:ext>
                </a:extLst>
              </p:cNvPr>
              <p:cNvSpPr/>
              <p:nvPr/>
            </p:nvSpPr>
            <p:spPr>
              <a:xfrm>
                <a:off x="11406422" y="375956"/>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4" name="Freeform: Shape 23">
                <a:extLst>
                  <a:ext uri="{FF2B5EF4-FFF2-40B4-BE49-F238E27FC236}">
                    <a16:creationId xmlns:a16="http://schemas.microsoft.com/office/drawing/2014/main" id="{F6A58650-E58E-42A7-AC2F-1B3D6D7723F0}"/>
                  </a:ext>
                </a:extLst>
              </p:cNvPr>
              <p:cNvSpPr/>
              <p:nvPr/>
            </p:nvSpPr>
            <p:spPr>
              <a:xfrm>
                <a:off x="11406422" y="440092"/>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5" name="Freeform: Shape 24">
                <a:extLst>
                  <a:ext uri="{FF2B5EF4-FFF2-40B4-BE49-F238E27FC236}">
                    <a16:creationId xmlns:a16="http://schemas.microsoft.com/office/drawing/2014/main" id="{88086E15-112C-43EE-BC0E-5374273802E7}"/>
                  </a:ext>
                </a:extLst>
              </p:cNvPr>
              <p:cNvSpPr/>
              <p:nvPr/>
            </p:nvSpPr>
            <p:spPr>
              <a:xfrm>
                <a:off x="11406422" y="311777"/>
                <a:ext cx="89689" cy="132328"/>
              </a:xfrm>
              <a:custGeom>
                <a:avLst/>
                <a:gdLst>
                  <a:gd name="connsiteX0" fmla="*/ 167 w 89689"/>
                  <a:gd name="connsiteY0" fmla="*/ 90444 h 132328"/>
                  <a:gd name="connsiteX1" fmla="*/ 167 w 89689"/>
                  <a:gd name="connsiteY1" fmla="*/ 133583 h 132328"/>
                  <a:gd name="connsiteX2" fmla="*/ 90444 w 89689"/>
                  <a:gd name="connsiteY2" fmla="*/ 43306 h 132328"/>
                  <a:gd name="connsiteX3" fmla="*/ 90444 w 89689"/>
                  <a:gd name="connsiteY3" fmla="*/ 167 h 132328"/>
                  <a:gd name="connsiteX4" fmla="*/ 167 w 89689"/>
                  <a:gd name="connsiteY4" fmla="*/ 90444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44"/>
                    </a:moveTo>
                    <a:lnTo>
                      <a:pt x="167" y="133583"/>
                    </a:lnTo>
                    <a:lnTo>
                      <a:pt x="90444" y="43306"/>
                    </a:lnTo>
                    <a:lnTo>
                      <a:pt x="90444" y="167"/>
                    </a:lnTo>
                    <a:lnTo>
                      <a:pt x="167" y="90444"/>
                    </a:lnTo>
                    <a:close/>
                  </a:path>
                </a:pathLst>
              </a:custGeom>
              <a:solidFill>
                <a:srgbClr val="FFD700"/>
              </a:solidFill>
              <a:ln w="1441" cap="flat">
                <a:noFill/>
                <a:prstDash val="solid"/>
                <a:miter/>
              </a:ln>
            </p:spPr>
            <p:txBody>
              <a:bodyPr rtlCol="0" anchor="ctr"/>
              <a:lstStyle/>
              <a:p>
                <a:endParaRPr lang="uk-UA"/>
              </a:p>
            </p:txBody>
          </p:sp>
          <p:sp>
            <p:nvSpPr>
              <p:cNvPr id="26" name="Freeform: Shape 25">
                <a:extLst>
                  <a:ext uri="{FF2B5EF4-FFF2-40B4-BE49-F238E27FC236}">
                    <a16:creationId xmlns:a16="http://schemas.microsoft.com/office/drawing/2014/main" id="{5FBADB67-D43D-4829-8562-CB6CE0AA9651}"/>
                  </a:ext>
                </a:extLst>
              </p:cNvPr>
              <p:cNvSpPr/>
              <p:nvPr/>
            </p:nvSpPr>
            <p:spPr>
              <a:xfrm>
                <a:off x="11049532" y="504227"/>
                <a:ext cx="446976" cy="254365"/>
              </a:xfrm>
              <a:custGeom>
                <a:avLst/>
                <a:gdLst>
                  <a:gd name="connsiteX0" fmla="*/ 357057 w 446976"/>
                  <a:gd name="connsiteY0" fmla="*/ 162931 h 254364"/>
                  <a:gd name="connsiteX1" fmla="*/ 223743 w 446976"/>
                  <a:gd name="connsiteY1" fmla="*/ 221199 h 254364"/>
                  <a:gd name="connsiteX2" fmla="*/ 91621 w 446976"/>
                  <a:gd name="connsiteY2" fmla="*/ 163460 h 254364"/>
                  <a:gd name="connsiteX3" fmla="*/ 167 w 446976"/>
                  <a:gd name="connsiteY3" fmla="*/ 254884 h 254364"/>
                  <a:gd name="connsiteX4" fmla="*/ 447334 w 446976"/>
                  <a:gd name="connsiteY4" fmla="*/ 254884 h 254364"/>
                  <a:gd name="connsiteX5" fmla="*/ 447334 w 446976"/>
                  <a:gd name="connsiteY5" fmla="*/ 167 h 254364"/>
                  <a:gd name="connsiteX6" fmla="*/ 357057 w 446976"/>
                  <a:gd name="connsiteY6" fmla="*/ 90415 h 254364"/>
                  <a:gd name="connsiteX7" fmla="*/ 357057 w 446976"/>
                  <a:gd name="connsiteY7" fmla="*/ 162931 h 2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76" h="254364">
                    <a:moveTo>
                      <a:pt x="357057" y="162931"/>
                    </a:moveTo>
                    <a:lnTo>
                      <a:pt x="223743" y="221199"/>
                    </a:lnTo>
                    <a:lnTo>
                      <a:pt x="91621" y="163460"/>
                    </a:lnTo>
                    <a:lnTo>
                      <a:pt x="167" y="254884"/>
                    </a:lnTo>
                    <a:lnTo>
                      <a:pt x="447334" y="254884"/>
                    </a:lnTo>
                    <a:lnTo>
                      <a:pt x="447334" y="167"/>
                    </a:lnTo>
                    <a:lnTo>
                      <a:pt x="357057" y="90415"/>
                    </a:lnTo>
                    <a:lnTo>
                      <a:pt x="357057" y="162931"/>
                    </a:lnTo>
                    <a:close/>
                  </a:path>
                </a:pathLst>
              </a:custGeom>
              <a:solidFill>
                <a:srgbClr val="FFD700"/>
              </a:solidFill>
              <a:ln w="1441" cap="flat">
                <a:noFill/>
                <a:prstDash val="solid"/>
                <a:miter/>
              </a:ln>
            </p:spPr>
            <p:txBody>
              <a:bodyPr rtlCol="0" anchor="ctr"/>
              <a:lstStyle/>
              <a:p>
                <a:endParaRPr lang="uk-UA"/>
              </a:p>
            </p:txBody>
          </p:sp>
          <p:sp>
            <p:nvSpPr>
              <p:cNvPr id="27" name="Freeform: Shape 26">
                <a:extLst>
                  <a:ext uri="{FF2B5EF4-FFF2-40B4-BE49-F238E27FC236}">
                    <a16:creationId xmlns:a16="http://schemas.microsoft.com/office/drawing/2014/main" id="{A5443193-D253-406D-8ADD-79493A669874}"/>
                  </a:ext>
                </a:extLst>
              </p:cNvPr>
              <p:cNvSpPr/>
              <p:nvPr/>
            </p:nvSpPr>
            <p:spPr>
              <a:xfrm>
                <a:off x="11049532" y="311777"/>
                <a:ext cx="426392" cy="233780"/>
              </a:xfrm>
              <a:custGeom>
                <a:avLst/>
                <a:gdLst>
                  <a:gd name="connsiteX0" fmla="*/ 426338 w 426391"/>
                  <a:gd name="connsiteY0" fmla="*/ 167 h 233780"/>
                  <a:gd name="connsiteX1" fmla="*/ 167 w 426391"/>
                  <a:gd name="connsiteY1" fmla="*/ 167 h 233780"/>
                  <a:gd name="connsiteX2" fmla="*/ 167 w 426391"/>
                  <a:gd name="connsiteY2" fmla="*/ 233918 h 233780"/>
                  <a:gd name="connsiteX3" fmla="*/ 90444 w 426391"/>
                  <a:gd name="connsiteY3" fmla="*/ 143640 h 233780"/>
                  <a:gd name="connsiteX4" fmla="*/ 90444 w 426391"/>
                  <a:gd name="connsiteY4" fmla="*/ 69051 h 233780"/>
                  <a:gd name="connsiteX5" fmla="*/ 357057 w 426391"/>
                  <a:gd name="connsiteY5" fmla="*/ 69051 h 233780"/>
                  <a:gd name="connsiteX6" fmla="*/ 426338 w 426391"/>
                  <a:gd name="connsiteY6" fmla="*/ 167 h 2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1" h="233780">
                    <a:moveTo>
                      <a:pt x="426338" y="167"/>
                    </a:moveTo>
                    <a:lnTo>
                      <a:pt x="167" y="167"/>
                    </a:lnTo>
                    <a:lnTo>
                      <a:pt x="167" y="233918"/>
                    </a:lnTo>
                    <a:lnTo>
                      <a:pt x="90444" y="143640"/>
                    </a:lnTo>
                    <a:lnTo>
                      <a:pt x="90444" y="69051"/>
                    </a:lnTo>
                    <a:lnTo>
                      <a:pt x="357057" y="69051"/>
                    </a:lnTo>
                    <a:lnTo>
                      <a:pt x="426338" y="167"/>
                    </a:lnTo>
                    <a:close/>
                  </a:path>
                </a:pathLst>
              </a:custGeom>
              <a:solidFill>
                <a:srgbClr val="FFD700"/>
              </a:solidFill>
              <a:ln w="1441" cap="flat">
                <a:noFill/>
                <a:prstDash val="solid"/>
                <a:miter/>
              </a:ln>
            </p:spPr>
            <p:txBody>
              <a:bodyPr rtlCol="0" anchor="ctr"/>
              <a:lstStyle/>
              <a:p>
                <a:endParaRPr lang="uk-UA"/>
              </a:p>
            </p:txBody>
          </p:sp>
          <p:sp>
            <p:nvSpPr>
              <p:cNvPr id="28" name="Freeform: Shape 27">
                <a:extLst>
                  <a:ext uri="{FF2B5EF4-FFF2-40B4-BE49-F238E27FC236}">
                    <a16:creationId xmlns:a16="http://schemas.microsoft.com/office/drawing/2014/main" id="{6B1C481C-FDEA-4E42-928D-E9287FCC2559}"/>
                  </a:ext>
                </a:extLst>
              </p:cNvPr>
              <p:cNvSpPr/>
              <p:nvPr/>
            </p:nvSpPr>
            <p:spPr>
              <a:xfrm>
                <a:off x="11049532" y="476291"/>
                <a:ext cx="89689" cy="132328"/>
              </a:xfrm>
              <a:custGeom>
                <a:avLst/>
                <a:gdLst>
                  <a:gd name="connsiteX0" fmla="*/ 167 w 89689"/>
                  <a:gd name="connsiteY0" fmla="*/ 90400 h 132328"/>
                  <a:gd name="connsiteX1" fmla="*/ 167 w 89689"/>
                  <a:gd name="connsiteY1" fmla="*/ 133539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39"/>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29" name="Freeform: Shape 28">
                <a:extLst>
                  <a:ext uri="{FF2B5EF4-FFF2-40B4-BE49-F238E27FC236}">
                    <a16:creationId xmlns:a16="http://schemas.microsoft.com/office/drawing/2014/main" id="{2F6F87E3-37EE-4EF3-A7DF-3BEA2F338D26}"/>
                  </a:ext>
                </a:extLst>
              </p:cNvPr>
              <p:cNvSpPr/>
              <p:nvPr/>
            </p:nvSpPr>
            <p:spPr>
              <a:xfrm>
                <a:off x="11049532" y="604561"/>
                <a:ext cx="89689" cy="132328"/>
              </a:xfrm>
              <a:custGeom>
                <a:avLst/>
                <a:gdLst>
                  <a:gd name="connsiteX0" fmla="*/ 167 w 89689"/>
                  <a:gd name="connsiteY0" fmla="*/ 90400 h 132328"/>
                  <a:gd name="connsiteX1" fmla="*/ 167 w 89689"/>
                  <a:gd name="connsiteY1" fmla="*/ 133554 h 132328"/>
                  <a:gd name="connsiteX2" fmla="*/ 90444 w 89689"/>
                  <a:gd name="connsiteY2" fmla="*/ 43277 h 132328"/>
                  <a:gd name="connsiteX3" fmla="*/ 90444 w 89689"/>
                  <a:gd name="connsiteY3" fmla="*/ 167 h 132328"/>
                  <a:gd name="connsiteX4" fmla="*/ 167 w 89689"/>
                  <a:gd name="connsiteY4" fmla="*/ 90400 h 13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89" h="132328">
                    <a:moveTo>
                      <a:pt x="167" y="90400"/>
                    </a:moveTo>
                    <a:lnTo>
                      <a:pt x="167" y="133554"/>
                    </a:lnTo>
                    <a:lnTo>
                      <a:pt x="90444" y="43277"/>
                    </a:lnTo>
                    <a:lnTo>
                      <a:pt x="90444" y="167"/>
                    </a:lnTo>
                    <a:lnTo>
                      <a:pt x="167" y="90400"/>
                    </a:lnTo>
                    <a:close/>
                  </a:path>
                </a:pathLst>
              </a:custGeom>
              <a:solidFill>
                <a:srgbClr val="FFD700"/>
              </a:solidFill>
              <a:ln w="1441" cap="flat">
                <a:noFill/>
                <a:prstDash val="solid"/>
                <a:miter/>
              </a:ln>
            </p:spPr>
            <p:txBody>
              <a:bodyPr rtlCol="0" anchor="ctr"/>
              <a:lstStyle/>
              <a:p>
                <a:endParaRPr lang="uk-UA"/>
              </a:p>
            </p:txBody>
          </p:sp>
          <p:sp>
            <p:nvSpPr>
              <p:cNvPr id="30" name="Freeform: Shape 29">
                <a:extLst>
                  <a:ext uri="{FF2B5EF4-FFF2-40B4-BE49-F238E27FC236}">
                    <a16:creationId xmlns:a16="http://schemas.microsoft.com/office/drawing/2014/main" id="{5F4CB859-25EB-481B-A63C-67AB63F669FE}"/>
                  </a:ext>
                </a:extLst>
              </p:cNvPr>
              <p:cNvSpPr/>
              <p:nvPr/>
            </p:nvSpPr>
            <p:spPr>
              <a:xfrm>
                <a:off x="11203224" y="462602"/>
                <a:ext cx="22055" cy="102922"/>
              </a:xfrm>
              <a:custGeom>
                <a:avLst/>
                <a:gdLst>
                  <a:gd name="connsiteX0" fmla="*/ 8107 w 22054"/>
                  <a:gd name="connsiteY0" fmla="*/ 103574 h 102922"/>
                  <a:gd name="connsiteX1" fmla="*/ 167 w 22054"/>
                  <a:gd name="connsiteY1" fmla="*/ 103574 h 102922"/>
                  <a:gd name="connsiteX2" fmla="*/ 167 w 22054"/>
                  <a:gd name="connsiteY2" fmla="*/ 167 h 102922"/>
                  <a:gd name="connsiteX3" fmla="*/ 17120 w 22054"/>
                  <a:gd name="connsiteY3" fmla="*/ 38557 h 102922"/>
                  <a:gd name="connsiteX4" fmla="*/ 22736 w 22054"/>
                  <a:gd name="connsiteY4" fmla="*/ 85607 h 102922"/>
                  <a:gd name="connsiteX5" fmla="*/ 8107 w 22054"/>
                  <a:gd name="connsiteY5" fmla="*/ 103574 h 10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54" h="102922">
                    <a:moveTo>
                      <a:pt x="8107" y="103574"/>
                    </a:moveTo>
                    <a:lnTo>
                      <a:pt x="167" y="103574"/>
                    </a:lnTo>
                    <a:lnTo>
                      <a:pt x="167" y="167"/>
                    </a:lnTo>
                    <a:cubicBezTo>
                      <a:pt x="9446" y="11032"/>
                      <a:pt x="15341" y="24379"/>
                      <a:pt x="17120" y="38557"/>
                    </a:cubicBezTo>
                    <a:lnTo>
                      <a:pt x="22736" y="85607"/>
                    </a:lnTo>
                    <a:cubicBezTo>
                      <a:pt x="15488" y="89196"/>
                      <a:pt x="10152" y="95749"/>
                      <a:pt x="8107" y="103574"/>
                    </a:cubicBezTo>
                    <a:close/>
                  </a:path>
                </a:pathLst>
              </a:custGeom>
              <a:solidFill>
                <a:srgbClr val="FFD700"/>
              </a:solidFill>
              <a:ln w="1441" cap="flat">
                <a:noFill/>
                <a:prstDash val="solid"/>
                <a:miter/>
              </a:ln>
            </p:spPr>
            <p:txBody>
              <a:bodyPr rtlCol="0" anchor="ctr"/>
              <a:lstStyle/>
              <a:p>
                <a:endParaRPr lang="uk-UA"/>
              </a:p>
            </p:txBody>
          </p:sp>
          <p:sp>
            <p:nvSpPr>
              <p:cNvPr id="31" name="Freeform: Shape 30">
                <a:extLst>
                  <a:ext uri="{FF2B5EF4-FFF2-40B4-BE49-F238E27FC236}">
                    <a16:creationId xmlns:a16="http://schemas.microsoft.com/office/drawing/2014/main" id="{10935984-CE25-494D-891E-AC3BEC1E5F62}"/>
                  </a:ext>
                </a:extLst>
              </p:cNvPr>
              <p:cNvSpPr/>
              <p:nvPr/>
            </p:nvSpPr>
            <p:spPr>
              <a:xfrm>
                <a:off x="11203224" y="579992"/>
                <a:ext cx="33817" cy="41169"/>
              </a:xfrm>
              <a:custGeom>
                <a:avLst/>
                <a:gdLst>
                  <a:gd name="connsiteX0" fmla="*/ 27706 w 33817"/>
                  <a:gd name="connsiteY0" fmla="*/ 20104 h 41168"/>
                  <a:gd name="connsiteX1" fmla="*/ 34410 w 33817"/>
                  <a:gd name="connsiteY1" fmla="*/ 21575 h 41168"/>
                  <a:gd name="connsiteX2" fmla="*/ 31617 w 33817"/>
                  <a:gd name="connsiteY2" fmla="*/ 42056 h 41168"/>
                  <a:gd name="connsiteX3" fmla="*/ 167 w 33817"/>
                  <a:gd name="connsiteY3" fmla="*/ 42056 h 41168"/>
                  <a:gd name="connsiteX4" fmla="*/ 167 w 33817"/>
                  <a:gd name="connsiteY4" fmla="*/ 167 h 41168"/>
                  <a:gd name="connsiteX5" fmla="*/ 8107 w 33817"/>
                  <a:gd name="connsiteY5" fmla="*/ 167 h 41168"/>
                  <a:gd name="connsiteX6" fmla="*/ 27706 w 33817"/>
                  <a:gd name="connsiteY6" fmla="*/ 20104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7706" y="20104"/>
                    </a:moveTo>
                    <a:lnTo>
                      <a:pt x="34410" y="21575"/>
                    </a:lnTo>
                    <a:cubicBezTo>
                      <a:pt x="32573" y="28248"/>
                      <a:pt x="31632" y="35135"/>
                      <a:pt x="31617" y="42056"/>
                    </a:cubicBezTo>
                    <a:lnTo>
                      <a:pt x="167" y="42056"/>
                    </a:lnTo>
                    <a:lnTo>
                      <a:pt x="167" y="167"/>
                    </a:lnTo>
                    <a:lnTo>
                      <a:pt x="8107" y="167"/>
                    </a:lnTo>
                    <a:cubicBezTo>
                      <a:pt x="10630" y="9825"/>
                      <a:pt x="18090" y="17417"/>
                      <a:pt x="27706" y="20104"/>
                    </a:cubicBezTo>
                    <a:close/>
                  </a:path>
                </a:pathLst>
              </a:custGeom>
              <a:solidFill>
                <a:srgbClr val="FFD700"/>
              </a:solidFill>
              <a:ln w="1441" cap="flat">
                <a:noFill/>
                <a:prstDash val="solid"/>
                <a:miter/>
              </a:ln>
            </p:spPr>
            <p:txBody>
              <a:bodyPr rtlCol="0" anchor="ctr"/>
              <a:lstStyle/>
              <a:p>
                <a:endParaRPr lang="uk-UA"/>
              </a:p>
            </p:txBody>
          </p:sp>
          <p:sp>
            <p:nvSpPr>
              <p:cNvPr id="32" name="Freeform: Shape 31">
                <a:extLst>
                  <a:ext uri="{FF2B5EF4-FFF2-40B4-BE49-F238E27FC236}">
                    <a16:creationId xmlns:a16="http://schemas.microsoft.com/office/drawing/2014/main" id="{FA2C2296-2B5A-46E8-BCE2-6B6BF1201EAC}"/>
                  </a:ext>
                </a:extLst>
              </p:cNvPr>
              <p:cNvSpPr/>
              <p:nvPr/>
            </p:nvSpPr>
            <p:spPr>
              <a:xfrm>
                <a:off x="11248642" y="604679"/>
                <a:ext cx="17644" cy="16173"/>
              </a:xfrm>
              <a:custGeom>
                <a:avLst/>
                <a:gdLst>
                  <a:gd name="connsiteX0" fmla="*/ 17634 w 17643"/>
                  <a:gd name="connsiteY0" fmla="*/ 17399 h 16173"/>
                  <a:gd name="connsiteX1" fmla="*/ 167 w 17643"/>
                  <a:gd name="connsiteY1" fmla="*/ 17399 h 16173"/>
                  <a:gd name="connsiteX2" fmla="*/ 2652 w 17643"/>
                  <a:gd name="connsiteY2" fmla="*/ 167 h 16173"/>
                  <a:gd name="connsiteX3" fmla="*/ 17634 w 17643"/>
                  <a:gd name="connsiteY3" fmla="*/ 17399 h 16173"/>
                </a:gdLst>
                <a:ahLst/>
                <a:cxnLst>
                  <a:cxn ang="0">
                    <a:pos x="connsiteX0" y="connsiteY0"/>
                  </a:cxn>
                  <a:cxn ang="0">
                    <a:pos x="connsiteX1" y="connsiteY1"/>
                  </a:cxn>
                  <a:cxn ang="0">
                    <a:pos x="connsiteX2" y="connsiteY2"/>
                  </a:cxn>
                  <a:cxn ang="0">
                    <a:pos x="connsiteX3" y="connsiteY3"/>
                  </a:cxn>
                </a:cxnLst>
                <a:rect l="l" t="t" r="r" b="b"/>
                <a:pathLst>
                  <a:path w="17643" h="16173">
                    <a:moveTo>
                      <a:pt x="17634" y="17399"/>
                    </a:moveTo>
                    <a:lnTo>
                      <a:pt x="167" y="17399"/>
                    </a:lnTo>
                    <a:cubicBezTo>
                      <a:pt x="182" y="11568"/>
                      <a:pt x="1020" y="5766"/>
                      <a:pt x="2652" y="167"/>
                    </a:cubicBezTo>
                    <a:cubicBezTo>
                      <a:pt x="11238" y="1375"/>
                      <a:pt x="17634" y="8724"/>
                      <a:pt x="17634" y="17399"/>
                    </a:cubicBezTo>
                    <a:close/>
                  </a:path>
                </a:pathLst>
              </a:custGeom>
              <a:solidFill>
                <a:srgbClr val="FFD700"/>
              </a:solidFill>
              <a:ln w="1441" cap="flat">
                <a:noFill/>
                <a:prstDash val="solid"/>
                <a:miter/>
              </a:ln>
            </p:spPr>
            <p:txBody>
              <a:bodyPr rtlCol="0" anchor="ctr"/>
              <a:lstStyle/>
              <a:p>
                <a:endParaRPr lang="uk-UA"/>
              </a:p>
            </p:txBody>
          </p:sp>
          <p:sp>
            <p:nvSpPr>
              <p:cNvPr id="33" name="Freeform: Shape 32">
                <a:extLst>
                  <a:ext uri="{FF2B5EF4-FFF2-40B4-BE49-F238E27FC236}">
                    <a16:creationId xmlns:a16="http://schemas.microsoft.com/office/drawing/2014/main" id="{30F6F952-9DAF-4712-B97F-CF42A9065EDE}"/>
                  </a:ext>
                </a:extLst>
              </p:cNvPr>
              <p:cNvSpPr/>
              <p:nvPr/>
            </p:nvSpPr>
            <p:spPr>
              <a:xfrm>
                <a:off x="11250245" y="635864"/>
                <a:ext cx="16173" cy="29406"/>
              </a:xfrm>
              <a:custGeom>
                <a:avLst/>
                <a:gdLst>
                  <a:gd name="connsiteX0" fmla="*/ 167 w 16173"/>
                  <a:gd name="connsiteY0" fmla="*/ 167 h 29406"/>
                  <a:gd name="connsiteX1" fmla="*/ 16032 w 16173"/>
                  <a:gd name="connsiteY1" fmla="*/ 167 h 29406"/>
                  <a:gd name="connsiteX2" fmla="*/ 16032 w 16173"/>
                  <a:gd name="connsiteY2" fmla="*/ 29573 h 29406"/>
                  <a:gd name="connsiteX3" fmla="*/ 167 w 16173"/>
                  <a:gd name="connsiteY3" fmla="*/ 167 h 29406"/>
                </a:gdLst>
                <a:ahLst/>
                <a:cxnLst>
                  <a:cxn ang="0">
                    <a:pos x="connsiteX0" y="connsiteY0"/>
                  </a:cxn>
                  <a:cxn ang="0">
                    <a:pos x="connsiteX1" y="connsiteY1"/>
                  </a:cxn>
                  <a:cxn ang="0">
                    <a:pos x="connsiteX2" y="connsiteY2"/>
                  </a:cxn>
                  <a:cxn ang="0">
                    <a:pos x="connsiteX3" y="connsiteY3"/>
                  </a:cxn>
                </a:cxnLst>
                <a:rect l="l" t="t" r="r" b="b"/>
                <a:pathLst>
                  <a:path w="16173" h="29406">
                    <a:moveTo>
                      <a:pt x="167" y="167"/>
                    </a:moveTo>
                    <a:lnTo>
                      <a:pt x="16032" y="167"/>
                    </a:lnTo>
                    <a:lnTo>
                      <a:pt x="16032" y="29573"/>
                    </a:lnTo>
                    <a:cubicBezTo>
                      <a:pt x="8195" y="21376"/>
                      <a:pt x="2711" y="11218"/>
                      <a:pt x="167" y="167"/>
                    </a:cubicBezTo>
                    <a:close/>
                  </a:path>
                </a:pathLst>
              </a:custGeom>
              <a:solidFill>
                <a:srgbClr val="FFD700"/>
              </a:solidFill>
              <a:ln w="1441" cap="flat">
                <a:noFill/>
                <a:prstDash val="solid"/>
                <a:miter/>
              </a:ln>
            </p:spPr>
            <p:txBody>
              <a:bodyPr rtlCol="0" anchor="ctr"/>
              <a:lstStyle/>
              <a:p>
                <a:endParaRPr lang="uk-UA"/>
              </a:p>
            </p:txBody>
          </p:sp>
          <p:sp>
            <p:nvSpPr>
              <p:cNvPr id="34" name="Freeform: Shape 33">
                <a:extLst>
                  <a:ext uri="{FF2B5EF4-FFF2-40B4-BE49-F238E27FC236}">
                    <a16:creationId xmlns:a16="http://schemas.microsoft.com/office/drawing/2014/main" id="{81757124-61C4-4D79-AE2F-8150814396EB}"/>
                  </a:ext>
                </a:extLst>
              </p:cNvPr>
              <p:cNvSpPr/>
              <p:nvPr/>
            </p:nvSpPr>
            <p:spPr>
              <a:xfrm>
                <a:off x="11257758" y="557099"/>
                <a:ext cx="30877" cy="44109"/>
              </a:xfrm>
              <a:custGeom>
                <a:avLst/>
                <a:gdLst>
                  <a:gd name="connsiteX0" fmla="*/ 30838 w 30876"/>
                  <a:gd name="connsiteY0" fmla="*/ 34969 h 44109"/>
                  <a:gd name="connsiteX1" fmla="*/ 15502 w 30876"/>
                  <a:gd name="connsiteY1" fmla="*/ 45261 h 44109"/>
                  <a:gd name="connsiteX2" fmla="*/ 167 w 30876"/>
                  <a:gd name="connsiteY2" fmla="*/ 34969 h 44109"/>
                  <a:gd name="connsiteX3" fmla="*/ 15502 w 30876"/>
                  <a:gd name="connsiteY3" fmla="*/ 167 h 44109"/>
                  <a:gd name="connsiteX4" fmla="*/ 30838 w 30876"/>
                  <a:gd name="connsiteY4" fmla="*/ 34969 h 44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6" h="44109">
                    <a:moveTo>
                      <a:pt x="30838" y="34969"/>
                    </a:moveTo>
                    <a:cubicBezTo>
                      <a:pt x="24809" y="36795"/>
                      <a:pt x="19472" y="40380"/>
                      <a:pt x="15502" y="45261"/>
                    </a:cubicBezTo>
                    <a:cubicBezTo>
                      <a:pt x="11547" y="40362"/>
                      <a:pt x="6195" y="36773"/>
                      <a:pt x="167" y="34969"/>
                    </a:cubicBezTo>
                    <a:cubicBezTo>
                      <a:pt x="6651" y="24027"/>
                      <a:pt x="11812" y="12341"/>
                      <a:pt x="15502" y="167"/>
                    </a:cubicBezTo>
                    <a:cubicBezTo>
                      <a:pt x="19237" y="12328"/>
                      <a:pt x="24383" y="24008"/>
                      <a:pt x="30838" y="34969"/>
                    </a:cubicBezTo>
                    <a:close/>
                  </a:path>
                </a:pathLst>
              </a:custGeom>
              <a:solidFill>
                <a:srgbClr val="FFD700"/>
              </a:solidFill>
              <a:ln w="1441" cap="flat">
                <a:noFill/>
                <a:prstDash val="solid"/>
                <a:miter/>
              </a:ln>
            </p:spPr>
            <p:txBody>
              <a:bodyPr rtlCol="0" anchor="ctr"/>
              <a:lstStyle/>
              <a:p>
                <a:endParaRPr lang="uk-UA"/>
              </a:p>
            </p:txBody>
          </p:sp>
          <p:sp>
            <p:nvSpPr>
              <p:cNvPr id="35" name="Freeform: Shape 34">
                <a:extLst>
                  <a:ext uri="{FF2B5EF4-FFF2-40B4-BE49-F238E27FC236}">
                    <a16:creationId xmlns:a16="http://schemas.microsoft.com/office/drawing/2014/main" id="{9FCA50BD-2ED3-4712-AF80-F99778585BBB}"/>
                  </a:ext>
                </a:extLst>
              </p:cNvPr>
              <p:cNvSpPr/>
              <p:nvPr/>
            </p:nvSpPr>
            <p:spPr>
              <a:xfrm>
                <a:off x="11280092" y="635864"/>
                <a:ext cx="16173" cy="29406"/>
              </a:xfrm>
              <a:custGeom>
                <a:avLst/>
                <a:gdLst>
                  <a:gd name="connsiteX0" fmla="*/ 167 w 16173"/>
                  <a:gd name="connsiteY0" fmla="*/ 167 h 29406"/>
                  <a:gd name="connsiteX1" fmla="*/ 16120 w 16173"/>
                  <a:gd name="connsiteY1" fmla="*/ 167 h 29406"/>
                  <a:gd name="connsiteX2" fmla="*/ 226 w 16173"/>
                  <a:gd name="connsiteY2" fmla="*/ 29573 h 29406"/>
                </a:gdLst>
                <a:ahLst/>
                <a:cxnLst>
                  <a:cxn ang="0">
                    <a:pos x="connsiteX0" y="connsiteY0"/>
                  </a:cxn>
                  <a:cxn ang="0">
                    <a:pos x="connsiteX1" y="connsiteY1"/>
                  </a:cxn>
                  <a:cxn ang="0">
                    <a:pos x="connsiteX2" y="connsiteY2"/>
                  </a:cxn>
                </a:cxnLst>
                <a:rect l="l" t="t" r="r" b="b"/>
                <a:pathLst>
                  <a:path w="16173" h="29406">
                    <a:moveTo>
                      <a:pt x="167" y="167"/>
                    </a:moveTo>
                    <a:lnTo>
                      <a:pt x="16120" y="167"/>
                    </a:lnTo>
                    <a:cubicBezTo>
                      <a:pt x="13561" y="11219"/>
                      <a:pt x="8077" y="21379"/>
                      <a:pt x="226" y="29573"/>
                    </a:cubicBezTo>
                    <a:close/>
                  </a:path>
                </a:pathLst>
              </a:custGeom>
              <a:solidFill>
                <a:srgbClr val="FFD700"/>
              </a:solidFill>
              <a:ln w="1441" cap="flat">
                <a:noFill/>
                <a:prstDash val="solid"/>
                <a:miter/>
              </a:ln>
            </p:spPr>
            <p:txBody>
              <a:bodyPr rtlCol="0" anchor="ctr"/>
              <a:lstStyle/>
              <a:p>
                <a:endParaRPr lang="uk-UA"/>
              </a:p>
            </p:txBody>
          </p:sp>
          <p:sp>
            <p:nvSpPr>
              <p:cNvPr id="36" name="Freeform: Shape 35">
                <a:extLst>
                  <a:ext uri="{FF2B5EF4-FFF2-40B4-BE49-F238E27FC236}">
                    <a16:creationId xmlns:a16="http://schemas.microsoft.com/office/drawing/2014/main" id="{04C390D0-6E64-47BF-B57D-1DAC293714E5}"/>
                  </a:ext>
                </a:extLst>
              </p:cNvPr>
              <p:cNvSpPr/>
              <p:nvPr/>
            </p:nvSpPr>
            <p:spPr>
              <a:xfrm>
                <a:off x="11280092" y="604679"/>
                <a:ext cx="17644" cy="16173"/>
              </a:xfrm>
              <a:custGeom>
                <a:avLst/>
                <a:gdLst>
                  <a:gd name="connsiteX0" fmla="*/ 15179 w 17643"/>
                  <a:gd name="connsiteY0" fmla="*/ 167 h 16173"/>
                  <a:gd name="connsiteX1" fmla="*/ 17634 w 17643"/>
                  <a:gd name="connsiteY1" fmla="*/ 17399 h 16173"/>
                  <a:gd name="connsiteX2" fmla="*/ 167 w 17643"/>
                  <a:gd name="connsiteY2" fmla="*/ 17399 h 16173"/>
                  <a:gd name="connsiteX3" fmla="*/ 15179 w 17643"/>
                  <a:gd name="connsiteY3" fmla="*/ 167 h 16173"/>
                </a:gdLst>
                <a:ahLst/>
                <a:cxnLst>
                  <a:cxn ang="0">
                    <a:pos x="connsiteX0" y="connsiteY0"/>
                  </a:cxn>
                  <a:cxn ang="0">
                    <a:pos x="connsiteX1" y="connsiteY1"/>
                  </a:cxn>
                  <a:cxn ang="0">
                    <a:pos x="connsiteX2" y="connsiteY2"/>
                  </a:cxn>
                  <a:cxn ang="0">
                    <a:pos x="connsiteX3" y="connsiteY3"/>
                  </a:cxn>
                </a:cxnLst>
                <a:rect l="l" t="t" r="r" b="b"/>
                <a:pathLst>
                  <a:path w="17643" h="16173">
                    <a:moveTo>
                      <a:pt x="15179" y="167"/>
                    </a:moveTo>
                    <a:cubicBezTo>
                      <a:pt x="16796" y="5767"/>
                      <a:pt x="17620" y="11568"/>
                      <a:pt x="17634" y="17399"/>
                    </a:cubicBezTo>
                    <a:lnTo>
                      <a:pt x="167" y="17399"/>
                    </a:lnTo>
                    <a:cubicBezTo>
                      <a:pt x="167" y="8715"/>
                      <a:pt x="6577" y="1362"/>
                      <a:pt x="15179" y="167"/>
                    </a:cubicBezTo>
                    <a:close/>
                  </a:path>
                </a:pathLst>
              </a:custGeom>
              <a:solidFill>
                <a:srgbClr val="FFD700"/>
              </a:solidFill>
              <a:ln w="1441" cap="flat">
                <a:noFill/>
                <a:prstDash val="solid"/>
                <a:miter/>
              </a:ln>
            </p:spPr>
            <p:txBody>
              <a:bodyPr rtlCol="0" anchor="ctr"/>
              <a:lstStyle/>
              <a:p>
                <a:endParaRPr lang="uk-UA"/>
              </a:p>
            </p:txBody>
          </p:sp>
          <p:sp>
            <p:nvSpPr>
              <p:cNvPr id="37" name="Freeform: Shape 36">
                <a:extLst>
                  <a:ext uri="{FF2B5EF4-FFF2-40B4-BE49-F238E27FC236}">
                    <a16:creationId xmlns:a16="http://schemas.microsoft.com/office/drawing/2014/main" id="{8C5C572C-FDFA-45AC-819B-9DE8DB7F188C}"/>
                  </a:ext>
                </a:extLst>
              </p:cNvPr>
              <p:cNvSpPr/>
              <p:nvPr/>
            </p:nvSpPr>
            <p:spPr>
              <a:xfrm>
                <a:off x="11320364" y="462602"/>
                <a:ext cx="22055" cy="102922"/>
              </a:xfrm>
              <a:custGeom>
                <a:avLst/>
                <a:gdLst>
                  <a:gd name="connsiteX0" fmla="*/ 5857 w 22054"/>
                  <a:gd name="connsiteY0" fmla="*/ 38557 h 102922"/>
                  <a:gd name="connsiteX1" fmla="*/ 22766 w 22054"/>
                  <a:gd name="connsiteY1" fmla="*/ 167 h 102922"/>
                  <a:gd name="connsiteX2" fmla="*/ 22766 w 22054"/>
                  <a:gd name="connsiteY2" fmla="*/ 103574 h 102922"/>
                  <a:gd name="connsiteX3" fmla="*/ 14870 w 22054"/>
                  <a:gd name="connsiteY3" fmla="*/ 103574 h 102922"/>
                  <a:gd name="connsiteX4" fmla="*/ 167 w 22054"/>
                  <a:gd name="connsiteY4" fmla="*/ 85548 h 10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4" h="102922">
                    <a:moveTo>
                      <a:pt x="5857" y="38557"/>
                    </a:moveTo>
                    <a:cubicBezTo>
                      <a:pt x="7636" y="24389"/>
                      <a:pt x="13517" y="11047"/>
                      <a:pt x="22766" y="167"/>
                    </a:cubicBezTo>
                    <a:lnTo>
                      <a:pt x="22766" y="103574"/>
                    </a:lnTo>
                    <a:lnTo>
                      <a:pt x="14870" y="103574"/>
                    </a:lnTo>
                    <a:cubicBezTo>
                      <a:pt x="12812" y="95723"/>
                      <a:pt x="7445" y="89149"/>
                      <a:pt x="167" y="85548"/>
                    </a:cubicBezTo>
                    <a:close/>
                  </a:path>
                </a:pathLst>
              </a:custGeom>
              <a:solidFill>
                <a:srgbClr val="FFD700"/>
              </a:solidFill>
              <a:ln w="1441" cap="flat">
                <a:noFill/>
                <a:prstDash val="solid"/>
                <a:miter/>
              </a:ln>
            </p:spPr>
            <p:txBody>
              <a:bodyPr rtlCol="0" anchor="ctr"/>
              <a:lstStyle/>
              <a:p>
                <a:endParaRPr lang="uk-UA"/>
              </a:p>
            </p:txBody>
          </p:sp>
          <p:sp>
            <p:nvSpPr>
              <p:cNvPr id="38" name="Freeform: Shape 37">
                <a:extLst>
                  <a:ext uri="{FF2B5EF4-FFF2-40B4-BE49-F238E27FC236}">
                    <a16:creationId xmlns:a16="http://schemas.microsoft.com/office/drawing/2014/main" id="{5F62703D-DB06-4F58-A60B-005ECC6196AF}"/>
                  </a:ext>
                </a:extLst>
              </p:cNvPr>
              <p:cNvSpPr/>
              <p:nvPr/>
            </p:nvSpPr>
            <p:spPr>
              <a:xfrm>
                <a:off x="11308764" y="579992"/>
                <a:ext cx="33817" cy="41169"/>
              </a:xfrm>
              <a:custGeom>
                <a:avLst/>
                <a:gdLst>
                  <a:gd name="connsiteX0" fmla="*/ 26471 w 33817"/>
                  <a:gd name="connsiteY0" fmla="*/ 167 h 41168"/>
                  <a:gd name="connsiteX1" fmla="*/ 34366 w 33817"/>
                  <a:gd name="connsiteY1" fmla="*/ 167 h 41168"/>
                  <a:gd name="connsiteX2" fmla="*/ 34366 w 33817"/>
                  <a:gd name="connsiteY2" fmla="*/ 42086 h 41168"/>
                  <a:gd name="connsiteX3" fmla="*/ 2931 w 33817"/>
                  <a:gd name="connsiteY3" fmla="*/ 42086 h 41168"/>
                  <a:gd name="connsiteX4" fmla="*/ 167 w 33817"/>
                  <a:gd name="connsiteY4" fmla="*/ 21604 h 41168"/>
                  <a:gd name="connsiteX5" fmla="*/ 6871 w 33817"/>
                  <a:gd name="connsiteY5" fmla="*/ 20134 h 41168"/>
                  <a:gd name="connsiteX6" fmla="*/ 26471 w 33817"/>
                  <a:gd name="connsiteY6" fmla="*/ 167 h 4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7" h="41168">
                    <a:moveTo>
                      <a:pt x="26471" y="167"/>
                    </a:moveTo>
                    <a:lnTo>
                      <a:pt x="34366" y="167"/>
                    </a:lnTo>
                    <a:lnTo>
                      <a:pt x="34366" y="42086"/>
                    </a:lnTo>
                    <a:lnTo>
                      <a:pt x="2931" y="42086"/>
                    </a:lnTo>
                    <a:cubicBezTo>
                      <a:pt x="2916" y="35166"/>
                      <a:pt x="1990" y="28279"/>
                      <a:pt x="167" y="21604"/>
                    </a:cubicBezTo>
                    <a:lnTo>
                      <a:pt x="6871" y="20134"/>
                    </a:lnTo>
                    <a:cubicBezTo>
                      <a:pt x="16473" y="17420"/>
                      <a:pt x="23942" y="9824"/>
                      <a:pt x="26471" y="167"/>
                    </a:cubicBezTo>
                    <a:close/>
                  </a:path>
                </a:pathLst>
              </a:custGeom>
              <a:solidFill>
                <a:srgbClr val="FFD700"/>
              </a:solidFill>
              <a:ln w="1441" cap="flat">
                <a:noFill/>
                <a:prstDash val="solid"/>
                <a:miter/>
              </a:ln>
            </p:spPr>
            <p:txBody>
              <a:bodyPr rtlCol="0" anchor="ctr"/>
              <a:lstStyle/>
              <a:p>
                <a:endParaRPr lang="uk-UA"/>
              </a:p>
            </p:txBody>
          </p:sp>
          <p:sp>
            <p:nvSpPr>
              <p:cNvPr id="39" name="Freeform: Shape 38">
                <a:extLst>
                  <a:ext uri="{FF2B5EF4-FFF2-40B4-BE49-F238E27FC236}">
                    <a16:creationId xmlns:a16="http://schemas.microsoft.com/office/drawing/2014/main" id="{BEC35243-7881-413D-A435-D49BA7F840E1}"/>
                  </a:ext>
                </a:extLst>
              </p:cNvPr>
              <p:cNvSpPr/>
              <p:nvPr/>
            </p:nvSpPr>
            <p:spPr>
              <a:xfrm>
                <a:off x="11154630" y="395497"/>
                <a:ext cx="236721" cy="313177"/>
              </a:xfrm>
              <a:custGeom>
                <a:avLst/>
                <a:gdLst>
                  <a:gd name="connsiteX0" fmla="*/ 167 w 236720"/>
                  <a:gd name="connsiteY0" fmla="*/ 167 h 313177"/>
                  <a:gd name="connsiteX1" fmla="*/ 167 w 236720"/>
                  <a:gd name="connsiteY1" fmla="*/ 261883 h 313177"/>
                  <a:gd name="connsiteX2" fmla="*/ 118630 w 236720"/>
                  <a:gd name="connsiteY2" fmla="*/ 313653 h 313177"/>
                  <a:gd name="connsiteX3" fmla="*/ 237152 w 236720"/>
                  <a:gd name="connsiteY3" fmla="*/ 261927 h 313177"/>
                  <a:gd name="connsiteX4" fmla="*/ 237152 w 236720"/>
                  <a:gd name="connsiteY4" fmla="*/ 211 h 313177"/>
                  <a:gd name="connsiteX5" fmla="*/ 202482 w 236720"/>
                  <a:gd name="connsiteY5" fmla="*/ 240534 h 313177"/>
                  <a:gd name="connsiteX6" fmla="*/ 155770 w 236720"/>
                  <a:gd name="connsiteY6" fmla="*/ 240534 h 313177"/>
                  <a:gd name="connsiteX7" fmla="*/ 127158 w 236720"/>
                  <a:gd name="connsiteY7" fmla="*/ 287378 h 313177"/>
                  <a:gd name="connsiteX8" fmla="*/ 118630 w 236720"/>
                  <a:gd name="connsiteY8" fmla="*/ 296671 h 313177"/>
                  <a:gd name="connsiteX9" fmla="*/ 110146 w 236720"/>
                  <a:gd name="connsiteY9" fmla="*/ 287378 h 313177"/>
                  <a:gd name="connsiteX10" fmla="*/ 81534 w 236720"/>
                  <a:gd name="connsiteY10" fmla="*/ 240534 h 313177"/>
                  <a:gd name="connsiteX11" fmla="*/ 34793 w 236720"/>
                  <a:gd name="connsiteY11" fmla="*/ 240534 h 313177"/>
                  <a:gd name="connsiteX12" fmla="*/ 34793 w 236720"/>
                  <a:gd name="connsiteY12" fmla="*/ 38101 h 313177"/>
                  <a:gd name="connsiteX13" fmla="*/ 45276 w 236720"/>
                  <a:gd name="connsiteY13" fmla="*/ 44879 h 313177"/>
                  <a:gd name="connsiteX14" fmla="*/ 79829 w 236720"/>
                  <a:gd name="connsiteY14" fmla="*/ 107029 h 313177"/>
                  <a:gd name="connsiteX15" fmla="*/ 86651 w 236720"/>
                  <a:gd name="connsiteY15" fmla="*/ 164004 h 313177"/>
                  <a:gd name="connsiteX16" fmla="*/ 83607 w 236720"/>
                  <a:gd name="connsiteY16" fmla="*/ 163695 h 313177"/>
                  <a:gd name="connsiteX17" fmla="*/ 69654 w 236720"/>
                  <a:gd name="connsiteY17" fmla="*/ 177678 h 313177"/>
                  <a:gd name="connsiteX18" fmla="*/ 80917 w 236720"/>
                  <a:gd name="connsiteY18" fmla="*/ 191367 h 313177"/>
                  <a:gd name="connsiteX19" fmla="*/ 89341 w 236720"/>
                  <a:gd name="connsiteY19" fmla="*/ 193072 h 313177"/>
                  <a:gd name="connsiteX20" fmla="*/ 97678 w 236720"/>
                  <a:gd name="connsiteY20" fmla="*/ 176796 h 313177"/>
                  <a:gd name="connsiteX21" fmla="*/ 111587 w 236720"/>
                  <a:gd name="connsiteY21" fmla="*/ 114793 h 313177"/>
                  <a:gd name="connsiteX22" fmla="*/ 108103 w 236720"/>
                  <a:gd name="connsiteY22" fmla="*/ 44879 h 313177"/>
                  <a:gd name="connsiteX23" fmla="*/ 118571 w 236720"/>
                  <a:gd name="connsiteY23" fmla="*/ 17208 h 313177"/>
                  <a:gd name="connsiteX24" fmla="*/ 129055 w 236720"/>
                  <a:gd name="connsiteY24" fmla="*/ 44879 h 313177"/>
                  <a:gd name="connsiteX25" fmla="*/ 125570 w 236720"/>
                  <a:gd name="connsiteY25" fmla="*/ 114793 h 313177"/>
                  <a:gd name="connsiteX26" fmla="*/ 139494 w 236720"/>
                  <a:gd name="connsiteY26" fmla="*/ 176796 h 313177"/>
                  <a:gd name="connsiteX27" fmla="*/ 147845 w 236720"/>
                  <a:gd name="connsiteY27" fmla="*/ 193072 h 313177"/>
                  <a:gd name="connsiteX28" fmla="*/ 156270 w 236720"/>
                  <a:gd name="connsiteY28" fmla="*/ 191367 h 313177"/>
                  <a:gd name="connsiteX29" fmla="*/ 167268 w 236720"/>
                  <a:gd name="connsiteY29" fmla="*/ 174957 h 313177"/>
                  <a:gd name="connsiteX30" fmla="*/ 153580 w 236720"/>
                  <a:gd name="connsiteY30" fmla="*/ 163695 h 313177"/>
                  <a:gd name="connsiteX31" fmla="*/ 150507 w 236720"/>
                  <a:gd name="connsiteY31" fmla="*/ 164004 h 313177"/>
                  <a:gd name="connsiteX32" fmla="*/ 157358 w 236720"/>
                  <a:gd name="connsiteY32" fmla="*/ 107029 h 313177"/>
                  <a:gd name="connsiteX33" fmla="*/ 191940 w 236720"/>
                  <a:gd name="connsiteY33" fmla="*/ 44879 h 313177"/>
                  <a:gd name="connsiteX34" fmla="*/ 202424 w 236720"/>
                  <a:gd name="connsiteY34" fmla="*/ 38101 h 31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720" h="313177">
                    <a:moveTo>
                      <a:pt x="167" y="167"/>
                    </a:moveTo>
                    <a:lnTo>
                      <a:pt x="167" y="261883"/>
                    </a:lnTo>
                    <a:lnTo>
                      <a:pt x="118630" y="313653"/>
                    </a:lnTo>
                    <a:lnTo>
                      <a:pt x="237152" y="261927"/>
                    </a:lnTo>
                    <a:lnTo>
                      <a:pt x="237152" y="211"/>
                    </a:lnTo>
                    <a:close/>
                    <a:moveTo>
                      <a:pt x="202482" y="240534"/>
                    </a:moveTo>
                    <a:lnTo>
                      <a:pt x="155770" y="240534"/>
                    </a:lnTo>
                    <a:cubicBezTo>
                      <a:pt x="152330" y="259139"/>
                      <a:pt x="142141" y="275820"/>
                      <a:pt x="127158" y="287378"/>
                    </a:cubicBezTo>
                    <a:cubicBezTo>
                      <a:pt x="123659" y="289800"/>
                      <a:pt x="120747" y="292976"/>
                      <a:pt x="118630" y="296671"/>
                    </a:cubicBezTo>
                    <a:cubicBezTo>
                      <a:pt x="116542" y="292971"/>
                      <a:pt x="113646" y="289794"/>
                      <a:pt x="110146" y="287378"/>
                    </a:cubicBezTo>
                    <a:cubicBezTo>
                      <a:pt x="95164" y="275820"/>
                      <a:pt x="84975" y="259139"/>
                      <a:pt x="81534" y="240534"/>
                    </a:cubicBezTo>
                    <a:lnTo>
                      <a:pt x="34793" y="240534"/>
                    </a:lnTo>
                    <a:lnTo>
                      <a:pt x="34793" y="38101"/>
                    </a:lnTo>
                    <a:cubicBezTo>
                      <a:pt x="38438" y="40120"/>
                      <a:pt x="41940" y="42384"/>
                      <a:pt x="45276" y="44879"/>
                    </a:cubicBezTo>
                    <a:cubicBezTo>
                      <a:pt x="65096" y="59756"/>
                      <a:pt x="77653" y="82349"/>
                      <a:pt x="79829" y="107029"/>
                    </a:cubicBezTo>
                    <a:lnTo>
                      <a:pt x="86651" y="164004"/>
                    </a:lnTo>
                    <a:lnTo>
                      <a:pt x="83607" y="163695"/>
                    </a:lnTo>
                    <a:cubicBezTo>
                      <a:pt x="75888" y="163704"/>
                      <a:pt x="69639" y="169965"/>
                      <a:pt x="69654" y="177678"/>
                    </a:cubicBezTo>
                    <a:cubicBezTo>
                      <a:pt x="69669" y="184345"/>
                      <a:pt x="74374" y="190076"/>
                      <a:pt x="80917" y="191367"/>
                    </a:cubicBezTo>
                    <a:lnTo>
                      <a:pt x="89341" y="193072"/>
                    </a:lnTo>
                    <a:cubicBezTo>
                      <a:pt x="92194" y="187691"/>
                      <a:pt x="95032" y="182280"/>
                      <a:pt x="97678" y="176796"/>
                    </a:cubicBezTo>
                    <a:cubicBezTo>
                      <a:pt x="105618" y="156888"/>
                      <a:pt x="112117" y="136480"/>
                      <a:pt x="111587" y="114793"/>
                    </a:cubicBezTo>
                    <a:cubicBezTo>
                      <a:pt x="111338" y="91488"/>
                      <a:pt x="108485" y="68213"/>
                      <a:pt x="108103" y="44879"/>
                    </a:cubicBezTo>
                    <a:cubicBezTo>
                      <a:pt x="108103" y="34687"/>
                      <a:pt x="111823" y="24845"/>
                      <a:pt x="118571" y="17208"/>
                    </a:cubicBezTo>
                    <a:cubicBezTo>
                      <a:pt x="125349" y="24831"/>
                      <a:pt x="129084" y="34681"/>
                      <a:pt x="129055" y="44879"/>
                    </a:cubicBezTo>
                    <a:cubicBezTo>
                      <a:pt x="128672" y="68213"/>
                      <a:pt x="125850" y="91488"/>
                      <a:pt x="125570" y="114793"/>
                    </a:cubicBezTo>
                    <a:cubicBezTo>
                      <a:pt x="125070" y="136480"/>
                      <a:pt x="131569" y="156888"/>
                      <a:pt x="139494" y="176796"/>
                    </a:cubicBezTo>
                    <a:cubicBezTo>
                      <a:pt x="142126" y="182280"/>
                      <a:pt x="144993" y="187691"/>
                      <a:pt x="147845" y="193072"/>
                    </a:cubicBezTo>
                    <a:lnTo>
                      <a:pt x="156270" y="191367"/>
                    </a:lnTo>
                    <a:cubicBezTo>
                      <a:pt x="163842" y="189873"/>
                      <a:pt x="168768" y="182526"/>
                      <a:pt x="167268" y="174957"/>
                    </a:cubicBezTo>
                    <a:cubicBezTo>
                      <a:pt x="165974" y="168418"/>
                      <a:pt x="160240" y="163703"/>
                      <a:pt x="153580" y="163695"/>
                    </a:cubicBezTo>
                    <a:lnTo>
                      <a:pt x="150507" y="164004"/>
                    </a:lnTo>
                    <a:lnTo>
                      <a:pt x="157358" y="107029"/>
                    </a:lnTo>
                    <a:cubicBezTo>
                      <a:pt x="159534" y="82341"/>
                      <a:pt x="172106" y="59744"/>
                      <a:pt x="191940" y="44879"/>
                    </a:cubicBezTo>
                    <a:cubicBezTo>
                      <a:pt x="195278" y="42391"/>
                      <a:pt x="198777" y="40127"/>
                      <a:pt x="202424" y="38101"/>
                    </a:cubicBezTo>
                    <a:close/>
                  </a:path>
                </a:pathLst>
              </a:custGeom>
              <a:solidFill>
                <a:srgbClr val="FFD700"/>
              </a:solidFill>
              <a:ln w="1441" cap="flat">
                <a:noFill/>
                <a:prstDash val="solid"/>
                <a:miter/>
              </a:ln>
            </p:spPr>
            <p:txBody>
              <a:bodyPr rtlCol="0" anchor="ctr"/>
              <a:lstStyle/>
              <a:p>
                <a:endParaRPr lang="uk-UA"/>
              </a:p>
            </p:txBody>
          </p:sp>
        </p:grpSp>
      </p:grpSp>
      <p:sp>
        <p:nvSpPr>
          <p:cNvPr id="40" name="Title 11">
            <a:extLst>
              <a:ext uri="{FF2B5EF4-FFF2-40B4-BE49-F238E27FC236}">
                <a16:creationId xmlns:a16="http://schemas.microsoft.com/office/drawing/2014/main" id="{C70D7C5E-9976-4F1A-9AD5-ECA2B3E4040E}"/>
              </a:ext>
            </a:extLst>
          </p:cNvPr>
          <p:cNvSpPr>
            <a:spLocks noGrp="1"/>
          </p:cNvSpPr>
          <p:nvPr>
            <p:ph type="title" hasCustomPrompt="1"/>
          </p:nvPr>
        </p:nvSpPr>
        <p:spPr>
          <a:xfrm>
            <a:off x="609601" y="469415"/>
            <a:ext cx="9330054" cy="389715"/>
          </a:xfrm>
        </p:spPr>
        <p:txBody>
          <a:bodyPr anchor="ctr"/>
          <a:lstStyle>
            <a:lvl1pPr algn="l">
              <a:lnSpc>
                <a:spcPct val="80000"/>
              </a:lnSpc>
              <a:defRPr sz="3000">
                <a:latin typeface="e-Ukraine Bold" panose="00000800000000000000" pitchFamily="50" charset="0"/>
              </a:defRPr>
            </a:lvl1pPr>
          </a:lstStyle>
          <a:p>
            <a:r>
              <a:rPr lang="uk-UA" dirty="0"/>
              <a:t>5-6</a:t>
            </a:r>
            <a:r>
              <a:rPr lang="en-US" dirty="0"/>
              <a:t> </a:t>
            </a:r>
            <a:r>
              <a:rPr lang="uk-UA" dirty="0"/>
              <a:t>ключових пунктів</a:t>
            </a:r>
            <a:endParaRPr lang="en-US" dirty="0"/>
          </a:p>
        </p:txBody>
      </p:sp>
      <p:sp>
        <p:nvSpPr>
          <p:cNvPr id="46" name="Text Placeholder 10">
            <a:extLst>
              <a:ext uri="{FF2B5EF4-FFF2-40B4-BE49-F238E27FC236}">
                <a16:creationId xmlns:a16="http://schemas.microsoft.com/office/drawing/2014/main" id="{A3AC86C2-07C0-4605-AE2A-8D24AD8912CC}"/>
              </a:ext>
            </a:extLst>
          </p:cNvPr>
          <p:cNvSpPr>
            <a:spLocks noGrp="1"/>
          </p:cNvSpPr>
          <p:nvPr>
            <p:ph type="body" sz="quarter" idx="17" hasCustomPrompt="1"/>
          </p:nvPr>
        </p:nvSpPr>
        <p:spPr>
          <a:xfrm>
            <a:off x="1851660" y="3278174"/>
            <a:ext cx="3322956" cy="1123554"/>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8" name="Text Placeholder 10">
            <a:extLst>
              <a:ext uri="{FF2B5EF4-FFF2-40B4-BE49-F238E27FC236}">
                <a16:creationId xmlns:a16="http://schemas.microsoft.com/office/drawing/2014/main" id="{D387B59B-DC75-4B45-8BF0-A64A89344E4C}"/>
              </a:ext>
            </a:extLst>
          </p:cNvPr>
          <p:cNvSpPr>
            <a:spLocks noGrp="1"/>
          </p:cNvSpPr>
          <p:nvPr>
            <p:ph type="body" sz="quarter" idx="19" hasCustomPrompt="1"/>
          </p:nvPr>
        </p:nvSpPr>
        <p:spPr>
          <a:xfrm>
            <a:off x="7592477" y="3278174"/>
            <a:ext cx="3322956" cy="1123554"/>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50" name="Text Placeholder 10">
            <a:extLst>
              <a:ext uri="{FF2B5EF4-FFF2-40B4-BE49-F238E27FC236}">
                <a16:creationId xmlns:a16="http://schemas.microsoft.com/office/drawing/2014/main" id="{79D61905-E3A6-475A-B25D-B456E54B053D}"/>
              </a:ext>
            </a:extLst>
          </p:cNvPr>
          <p:cNvSpPr>
            <a:spLocks noGrp="1"/>
          </p:cNvSpPr>
          <p:nvPr>
            <p:ph type="body" sz="quarter" idx="21" hasCustomPrompt="1"/>
          </p:nvPr>
        </p:nvSpPr>
        <p:spPr>
          <a:xfrm>
            <a:off x="1851660" y="5151944"/>
            <a:ext cx="3322956" cy="1123554"/>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52" name="Text Placeholder 10">
            <a:extLst>
              <a:ext uri="{FF2B5EF4-FFF2-40B4-BE49-F238E27FC236}">
                <a16:creationId xmlns:a16="http://schemas.microsoft.com/office/drawing/2014/main" id="{76C30524-6881-4878-9F78-34C857986560}"/>
              </a:ext>
            </a:extLst>
          </p:cNvPr>
          <p:cNvSpPr>
            <a:spLocks noGrp="1"/>
          </p:cNvSpPr>
          <p:nvPr>
            <p:ph type="body" sz="quarter" idx="23" hasCustomPrompt="1"/>
          </p:nvPr>
        </p:nvSpPr>
        <p:spPr>
          <a:xfrm>
            <a:off x="7592477" y="5151944"/>
            <a:ext cx="3322956" cy="1123554"/>
          </a:xfrm>
        </p:spPr>
        <p:txBody>
          <a:bodyPr anchor="ctr"/>
          <a:lstStyle>
            <a:lvl1pPr>
              <a:spcAft>
                <a:spcPts val="0"/>
              </a:spcAft>
              <a:defRPr sz="1600">
                <a:latin typeface="+mn-lt"/>
              </a:defRPr>
            </a:lvl1pPr>
            <a:lvl2pPr>
              <a:defRPr sz="2000">
                <a:latin typeface="e-Ukraine UltraLight" panose="00000500000000000000" pitchFamily="2" charset="0"/>
              </a:defRPr>
            </a:lvl2pPr>
            <a:lvl3pPr>
              <a:defRPr sz="2000">
                <a:latin typeface="e-Ukraine UltraLight" panose="00000500000000000000" pitchFamily="2" charset="0"/>
              </a:defRPr>
            </a:lvl3pPr>
            <a:lvl4pPr>
              <a:defRPr sz="2000">
                <a:latin typeface="e-Ukraine UltraLight" panose="00000500000000000000" pitchFamily="2" charset="0"/>
              </a:defRPr>
            </a:lvl4pPr>
            <a:lvl5pPr>
              <a:defRPr sz="2000">
                <a:latin typeface="e-Ukraine UltraLight" panose="00000500000000000000" pitchFamily="2" charset="0"/>
              </a:defRPr>
            </a:lvl5pPr>
          </a:lstStyle>
          <a:p>
            <a:r>
              <a:rPr lang="uk-UA" dirty="0"/>
              <a:t>Опис пункту.</a:t>
            </a:r>
            <a:br>
              <a:rPr lang="uk-UA" dirty="0"/>
            </a:br>
            <a:r>
              <a:rPr lang="en-US" dirty="0"/>
              <a:t>e-Ukraine </a:t>
            </a:r>
            <a:r>
              <a:rPr lang="en-US" dirty="0" err="1"/>
              <a:t>UltraLight</a:t>
            </a:r>
            <a:r>
              <a:rPr lang="uk-UA" dirty="0"/>
              <a:t> </a:t>
            </a:r>
            <a:r>
              <a:rPr lang="en-US" dirty="0"/>
              <a:t>1</a:t>
            </a:r>
            <a:r>
              <a:rPr lang="uk-UA" dirty="0"/>
              <a:t>6</a:t>
            </a:r>
            <a:r>
              <a:rPr lang="en-US" dirty="0"/>
              <a:t> pt.</a:t>
            </a:r>
            <a:r>
              <a:rPr lang="uk-UA" dirty="0"/>
              <a:t/>
            </a:r>
            <a:br>
              <a:rPr lang="uk-UA" dirty="0"/>
            </a:br>
            <a:r>
              <a:rPr lang="uk-UA" dirty="0"/>
              <a:t>До 4 рядків</a:t>
            </a:r>
          </a:p>
        </p:txBody>
      </p:sp>
      <p:sp>
        <p:nvSpPr>
          <p:cNvPr id="45" name="Slide Number Placeholder 8">
            <a:extLst>
              <a:ext uri="{FF2B5EF4-FFF2-40B4-BE49-F238E27FC236}">
                <a16:creationId xmlns:a16="http://schemas.microsoft.com/office/drawing/2014/main" id="{B22442E3-64E9-419A-8EEC-0931E464636D}"/>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a:t>
            </a:fld>
            <a:endParaRPr lang="uk-UA" sz="900" dirty="0">
              <a:latin typeface="+mn-lt"/>
            </a:endParaRPr>
          </a:p>
        </p:txBody>
      </p:sp>
    </p:spTree>
    <p:extLst>
      <p:ext uri="{BB962C8B-B14F-4D97-AF65-F5344CB8AC3E}">
        <p14:creationId xmlns:p14="http://schemas.microsoft.com/office/powerpoint/2010/main" val="39401078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242">
          <p15:clr>
            <a:srgbClr val="FBAE40"/>
          </p15:clr>
        </p15:guide>
        <p15:guide id="2" pos="43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2"/>
            </p:custDataLst>
            <p:extLst>
              <p:ext uri="{D42A27DB-BD31-4B8C-83A1-F6EECF244321}">
                <p14:modId xmlns:p14="http://schemas.microsoft.com/office/powerpoint/2010/main" val="41300407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6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09600" y="1432560"/>
            <a:ext cx="10862739" cy="4419600"/>
          </a:xfrm>
          <a:prstGeom prst="rect">
            <a:avLst/>
          </a:prstGeom>
        </p:spPr>
        <p:txBody>
          <a:bodyPr vert="horz" lIns="0" tIns="0" rIns="0" bIns="0" rtlCol="0">
            <a:noAutofit/>
          </a:bodyPr>
          <a:lstStyle/>
          <a:p>
            <a:pPr lvl="0"/>
            <a:r>
              <a:rPr lang="uk-UA" noProof="0" dirty="0" err="1"/>
              <a:t>Click</a:t>
            </a:r>
            <a:r>
              <a:rPr lang="uk-UA" noProof="0" dirty="0"/>
              <a:t> </a:t>
            </a:r>
            <a:r>
              <a:rPr lang="uk-UA" noProof="0" dirty="0" err="1"/>
              <a:t>to</a:t>
            </a:r>
            <a:r>
              <a:rPr lang="uk-UA" noProof="0" dirty="0"/>
              <a:t> </a:t>
            </a:r>
            <a:r>
              <a:rPr lang="uk-UA" noProof="0" dirty="0" err="1"/>
              <a:t>edit</a:t>
            </a:r>
            <a:r>
              <a:rPr lang="uk-UA" noProof="0" dirty="0"/>
              <a:t> </a:t>
            </a:r>
            <a:r>
              <a:rPr lang="uk-UA" noProof="0" dirty="0" err="1"/>
              <a:t>Master</a:t>
            </a:r>
            <a:r>
              <a:rPr lang="uk-UA" noProof="0" dirty="0"/>
              <a:t> </a:t>
            </a:r>
            <a:r>
              <a:rPr lang="uk-UA" noProof="0" dirty="0" err="1"/>
              <a:t>text</a:t>
            </a:r>
            <a:r>
              <a:rPr lang="uk-UA" noProof="0" dirty="0"/>
              <a:t> </a:t>
            </a:r>
            <a:r>
              <a:rPr lang="uk-UA" noProof="0" dirty="0" err="1"/>
              <a:t>styles</a:t>
            </a:r>
            <a:endParaRPr lang="uk-UA" noProof="0" dirty="0"/>
          </a:p>
          <a:p>
            <a:pPr lvl="1"/>
            <a:r>
              <a:rPr lang="uk-UA" noProof="0" dirty="0" err="1"/>
              <a:t>Second</a:t>
            </a:r>
            <a:r>
              <a:rPr lang="uk-UA" noProof="0" dirty="0"/>
              <a:t> </a:t>
            </a:r>
            <a:r>
              <a:rPr lang="uk-UA" noProof="0" dirty="0" err="1"/>
              <a:t>level</a:t>
            </a:r>
            <a:endParaRPr lang="uk-UA" noProof="0" dirty="0"/>
          </a:p>
          <a:p>
            <a:pPr lvl="2"/>
            <a:r>
              <a:rPr lang="uk-UA" noProof="0" dirty="0" err="1"/>
              <a:t>Third</a:t>
            </a:r>
            <a:r>
              <a:rPr lang="uk-UA" noProof="0" dirty="0"/>
              <a:t> </a:t>
            </a:r>
            <a:r>
              <a:rPr lang="uk-UA" noProof="0" dirty="0" err="1"/>
              <a:t>level</a:t>
            </a:r>
            <a:endParaRPr lang="uk-UA" noProof="0" dirty="0"/>
          </a:p>
          <a:p>
            <a:pPr lvl="3"/>
            <a:r>
              <a:rPr lang="uk-UA" noProof="0" dirty="0" err="1"/>
              <a:t>Fourth</a:t>
            </a:r>
            <a:r>
              <a:rPr lang="uk-UA" noProof="0" dirty="0"/>
              <a:t> </a:t>
            </a:r>
            <a:r>
              <a:rPr lang="uk-UA" noProof="0" dirty="0" err="1"/>
              <a:t>level</a:t>
            </a:r>
            <a:endParaRPr lang="uk-UA" noProof="0" dirty="0"/>
          </a:p>
          <a:p>
            <a:pPr lvl="4"/>
            <a:r>
              <a:rPr lang="uk-UA" noProof="0" dirty="0" err="1"/>
              <a:t>Fifth</a:t>
            </a:r>
            <a:r>
              <a:rPr lang="uk-UA" noProof="0" dirty="0"/>
              <a:t> </a:t>
            </a:r>
            <a:r>
              <a:rPr lang="uk-UA" noProof="0" dirty="0" err="1"/>
              <a:t>level</a:t>
            </a:r>
            <a:endParaRPr lang="uk-UA" noProof="0" dirty="0"/>
          </a:p>
        </p:txBody>
      </p:sp>
      <p:sp>
        <p:nvSpPr>
          <p:cNvPr id="11" name="Slide Number Placeholder 8"/>
          <p:cNvSpPr>
            <a:spLocks noGrp="1"/>
          </p:cNvSpPr>
          <p:nvPr>
            <p:ph type="sldNum" sz="quarter" idx="4"/>
          </p:nvPr>
        </p:nvSpPr>
        <p:spPr>
          <a:xfrm>
            <a:off x="609600" y="6275602"/>
            <a:ext cx="1051344" cy="456897"/>
          </a:xfrm>
          <a:prstGeom prst="rect">
            <a:avLst/>
          </a:prstGeom>
        </p:spPr>
        <p:txBody>
          <a:bodyPr/>
          <a:lstStyle>
            <a:lvl1pPr algn="l">
              <a:defRPr sz="1000">
                <a:latin typeface="e-Ukraine UltraLight" panose="00000500000000000000" pitchFamily="2" charset="-52"/>
              </a:defRPr>
            </a:lvl1pPr>
          </a:lstStyle>
          <a:p>
            <a:fld id="{6BEF9EAC-A834-4079-97F3-DDD7E59C4475}" type="slidenum">
              <a:rPr lang="uk-UA" smtClean="0">
                <a:solidFill>
                  <a:prstClr val="black">
                    <a:tint val="75000"/>
                  </a:prstClr>
                </a:solidFill>
              </a:rPr>
              <a:pPr/>
              <a:t>‹№›</a:t>
            </a:fld>
            <a:endParaRPr lang="uk-UA" dirty="0">
              <a:solidFill>
                <a:prstClr val="black">
                  <a:tint val="75000"/>
                </a:prstClr>
              </a:solidFill>
            </a:endParaRPr>
          </a:p>
        </p:txBody>
      </p:sp>
      <p:sp>
        <p:nvSpPr>
          <p:cNvPr id="12" name="Title Placeholder 1"/>
          <p:cNvSpPr>
            <a:spLocks noGrp="1"/>
          </p:cNvSpPr>
          <p:nvPr>
            <p:ph type="title"/>
          </p:nvPr>
        </p:nvSpPr>
        <p:spPr>
          <a:xfrm>
            <a:off x="609600" y="429576"/>
            <a:ext cx="10771200" cy="576264"/>
          </a:xfrm>
          <a:prstGeom prst="rect">
            <a:avLst/>
          </a:prstGeom>
        </p:spPr>
        <p:txBody>
          <a:bodyPr vert="horz" lIns="91440" tIns="45720" rIns="91440" bIns="45720" rtlCol="0" anchor="ctr">
            <a:noAutofit/>
          </a:bodyPr>
          <a:lstStyle/>
          <a:p>
            <a:r>
              <a:rPr lang="uk-UA" dirty="0"/>
              <a:t>Заголовок. </a:t>
            </a:r>
            <a:r>
              <a:rPr lang="en-US" dirty="0"/>
              <a:t>e-Ukraine Bold 30</a:t>
            </a:r>
            <a:endParaRPr lang="uk-UA" dirty="0"/>
          </a:p>
        </p:txBody>
      </p:sp>
    </p:spTree>
    <p:extLst>
      <p:ext uri="{BB962C8B-B14F-4D97-AF65-F5344CB8AC3E}">
        <p14:creationId xmlns:p14="http://schemas.microsoft.com/office/powerpoint/2010/main" val="4004499873"/>
      </p:ext>
    </p:extLst>
  </p:cSld>
  <p:clrMap bg1="lt1" tx1="dk1" bg2="lt2" tx2="dk2" accent1="accent1" accent2="accent2" accent3="accent3" accent4="accent4" accent5="accent5" accent6="accent6" hlink="hlink" folHlink="folHlink"/>
  <p:sldLayoutIdLst>
    <p:sldLayoutId id="2147483695" r:id="rId1"/>
    <p:sldLayoutId id="2147483717" r:id="rId2"/>
    <p:sldLayoutId id="2147483696" r:id="rId3"/>
    <p:sldLayoutId id="2147483714" r:id="rId4"/>
    <p:sldLayoutId id="2147483715" r:id="rId5"/>
    <p:sldLayoutId id="2147483699" r:id="rId6"/>
    <p:sldLayoutId id="2147483726" r:id="rId7"/>
    <p:sldLayoutId id="2147483716" r:id="rId8"/>
    <p:sldLayoutId id="2147483727" r:id="rId9"/>
    <p:sldLayoutId id="2147483718" r:id="rId10"/>
    <p:sldLayoutId id="2147483721" r:id="rId11"/>
    <p:sldLayoutId id="2147483725" r:id="rId12"/>
    <p:sldLayoutId id="2147483722" r:id="rId13"/>
    <p:sldLayoutId id="2147483701" r:id="rId14"/>
    <p:sldLayoutId id="2147483713" r:id="rId15"/>
    <p:sldLayoutId id="2147483708" r:id="rId16"/>
    <p:sldLayoutId id="2147483700" r:id="rId17"/>
    <p:sldLayoutId id="2147483706" r:id="rId18"/>
    <p:sldLayoutId id="2147483702" r:id="rId19"/>
    <p:sldLayoutId id="2147483704" r:id="rId20"/>
    <p:sldLayoutId id="2147483705" r:id="rId21"/>
    <p:sldLayoutId id="2147483719" r:id="rId22"/>
    <p:sldLayoutId id="2147483720" r:id="rId23"/>
    <p:sldLayoutId id="2147483703" r:id="rId24"/>
    <p:sldLayoutId id="2147483724" r:id="rId25"/>
    <p:sldLayoutId id="2147483723" r:id="rId26"/>
    <p:sldLayoutId id="2147483698" r:id="rId27"/>
    <p:sldLayoutId id="2147483709" r:id="rId28"/>
    <p:sldLayoutId id="2147483712" r:id="rId29"/>
  </p:sldLayoutIdLst>
  <p:hf hdr="0" ftr="0" dt="0"/>
  <p:txStyles>
    <p:titleStyle>
      <a:lvl1pPr algn="l" defTabSz="685800" rtl="0" eaLnBrk="1" latinLnBrk="0" hangingPunct="1">
        <a:lnSpc>
          <a:spcPct val="100000"/>
        </a:lnSpc>
        <a:spcBef>
          <a:spcPct val="0"/>
        </a:spcBef>
        <a:buNone/>
        <a:defRPr sz="3000" b="0" i="0" kern="1200">
          <a:solidFill>
            <a:schemeClr val="tx1"/>
          </a:solidFill>
          <a:latin typeface="e-Ukraine Bold" panose="00000800000000000000" pitchFamily="50" charset="0"/>
          <a:ea typeface="+mj-ea"/>
          <a:cs typeface="+mj-cs"/>
        </a:defRPr>
      </a:lvl1pPr>
    </p:titleStyle>
    <p:bodyStyle>
      <a:lvl1pPr marL="0" marR="0" indent="-205740" algn="l" defTabSz="685800" rtl="0" eaLnBrk="1" fontAlgn="auto" latinLnBrk="0" hangingPunct="1">
        <a:lnSpc>
          <a:spcPct val="100000"/>
        </a:lnSpc>
        <a:spcBef>
          <a:spcPts val="0"/>
        </a:spcBef>
        <a:spcAft>
          <a:spcPts val="675"/>
        </a:spcAft>
        <a:buClr>
          <a:schemeClr val="tx1"/>
        </a:buClr>
        <a:buSzTx/>
        <a:buFontTx/>
        <a:buNone/>
        <a:tabLst/>
        <a:defRPr sz="14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baseline="0">
          <a:solidFill>
            <a:schemeClr val="tx1"/>
          </a:solidFill>
          <a:latin typeface="e-Ukraine UltraLight" panose="00000300000000000000" pitchFamily="50"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7.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image" Target="../media/image13.svg"/><Relationship Id="rId4" Type="http://schemas.openxmlformats.org/officeDocument/2006/relationships/notesSlide" Target="../notesSlides/notesSlide2.xml"/><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8.sv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B36BB9A-ABC1-4773-9ED6-EC16CAEA5654}"/>
              </a:ext>
            </a:extLst>
          </p:cNvPr>
          <p:cNvSpPr>
            <a:spLocks noGrp="1"/>
          </p:cNvSpPr>
          <p:nvPr>
            <p:ph type="title"/>
          </p:nvPr>
        </p:nvSpPr>
        <p:spPr>
          <a:xfrm>
            <a:off x="993429" y="2489367"/>
            <a:ext cx="10335261" cy="2443186"/>
          </a:xfrm>
        </p:spPr>
        <p:txBody>
          <a:bodyPr/>
          <a:lstStyle/>
          <a:p>
            <a:pPr algn="ctr"/>
            <a:r>
              <a:rPr lang="uk-UA" dirty="0" smtClean="0">
                <a:highlight>
                  <a:srgbClr val="FFCD2F"/>
                </a:highlight>
              </a:rPr>
              <a:t>Бухгалтери та аудитори – учасники євроінтеграційних процесів</a:t>
            </a:r>
            <a:endParaRPr lang="uk-UA" dirty="0">
              <a:highlight>
                <a:srgbClr val="FFCD2F"/>
              </a:highlight>
            </a:endParaRPr>
          </a:p>
        </p:txBody>
      </p:sp>
    </p:spTree>
    <p:extLst>
      <p:ext uri="{BB962C8B-B14F-4D97-AF65-F5344CB8AC3E}">
        <p14:creationId xmlns:p14="http://schemas.microsoft.com/office/powerpoint/2010/main" val="3033711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 Placeholder 77">
            <a:extLst>
              <a:ext uri="{FF2B5EF4-FFF2-40B4-BE49-F238E27FC236}">
                <a16:creationId xmlns:a16="http://schemas.microsoft.com/office/drawing/2014/main" id="{8C013CE3-603D-47B2-8931-500B4CC11266}"/>
              </a:ext>
            </a:extLst>
          </p:cNvPr>
          <p:cNvSpPr>
            <a:spLocks noGrp="1"/>
          </p:cNvSpPr>
          <p:nvPr>
            <p:ph type="body" sz="quarter" idx="11"/>
          </p:nvPr>
        </p:nvSpPr>
        <p:spPr>
          <a:xfrm>
            <a:off x="430823" y="1305917"/>
            <a:ext cx="11342077" cy="853305"/>
          </a:xfrm>
        </p:spPr>
        <p:txBody>
          <a:bodyPr/>
          <a:lstStyle/>
          <a:p>
            <a:pPr algn="ctr"/>
            <a:r>
              <a:rPr lang="uk-UA" dirty="0"/>
              <a:t>Міжнародний кодекс етики професійних бухгалтерів (у тому числі Міжнародні стандарти незалежності) </a:t>
            </a:r>
            <a:r>
              <a:rPr lang="uk-UA" dirty="0" smtClean="0"/>
              <a:t>визначає </a:t>
            </a:r>
            <a:r>
              <a:rPr lang="uk-UA" dirty="0"/>
              <a:t>основоположні принципи етики професійних бухгалтерів</a:t>
            </a:r>
          </a:p>
        </p:txBody>
      </p:sp>
      <p:sp>
        <p:nvSpPr>
          <p:cNvPr id="4" name="Title 3">
            <a:extLst>
              <a:ext uri="{FF2B5EF4-FFF2-40B4-BE49-F238E27FC236}">
                <a16:creationId xmlns:a16="http://schemas.microsoft.com/office/drawing/2014/main" id="{6B5FDC60-2FC8-4D6E-B095-405A3343BB4E}"/>
              </a:ext>
            </a:extLst>
          </p:cNvPr>
          <p:cNvSpPr>
            <a:spLocks noGrp="1"/>
          </p:cNvSpPr>
          <p:nvPr>
            <p:ph type="title"/>
          </p:nvPr>
        </p:nvSpPr>
        <p:spPr/>
        <p:txBody>
          <a:bodyPr/>
          <a:lstStyle/>
          <a:p>
            <a:r>
              <a:rPr lang="uk-UA" dirty="0" smtClean="0"/>
              <a:t>Професійна етика</a:t>
            </a:r>
            <a:endParaRPr lang="en-US" dirty="0"/>
          </a:p>
        </p:txBody>
      </p:sp>
      <p:sp>
        <p:nvSpPr>
          <p:cNvPr id="80" name="Text Placeholder 79">
            <a:extLst>
              <a:ext uri="{FF2B5EF4-FFF2-40B4-BE49-F238E27FC236}">
                <a16:creationId xmlns:a16="http://schemas.microsoft.com/office/drawing/2014/main" id="{8557544D-96AD-446B-BBD5-41B9D7A0AED4}"/>
              </a:ext>
            </a:extLst>
          </p:cNvPr>
          <p:cNvSpPr>
            <a:spLocks noGrp="1"/>
          </p:cNvSpPr>
          <p:nvPr>
            <p:ph type="body" sz="quarter" idx="13"/>
          </p:nvPr>
        </p:nvSpPr>
        <p:spPr>
          <a:xfrm>
            <a:off x="2215662" y="2297723"/>
            <a:ext cx="9557238" cy="528637"/>
          </a:xfrm>
        </p:spPr>
        <p:txBody>
          <a:bodyPr/>
          <a:lstStyle/>
          <a:p>
            <a:pPr lvl="0"/>
            <a:r>
              <a:rPr lang="uk-UA" sz="2000" dirty="0" smtClean="0">
                <a:solidFill>
                  <a:schemeClr val="tx1"/>
                </a:solidFill>
                <a:latin typeface="+mn-lt"/>
              </a:rPr>
              <a:t>чесність</a:t>
            </a:r>
            <a:endParaRPr lang="uk-UA" sz="2000" dirty="0">
              <a:solidFill>
                <a:schemeClr val="tx1"/>
              </a:solidFill>
              <a:latin typeface="e-Ukraine UltraLight" panose="00000300000000000000" pitchFamily="50" charset="0"/>
            </a:endParaRPr>
          </a:p>
        </p:txBody>
      </p:sp>
      <p:sp>
        <p:nvSpPr>
          <p:cNvPr id="81" name="Text Placeholder 80">
            <a:extLst>
              <a:ext uri="{FF2B5EF4-FFF2-40B4-BE49-F238E27FC236}">
                <a16:creationId xmlns:a16="http://schemas.microsoft.com/office/drawing/2014/main" id="{91AE1181-75A8-4201-9819-7F993DA90A63}"/>
              </a:ext>
            </a:extLst>
          </p:cNvPr>
          <p:cNvSpPr>
            <a:spLocks noGrp="1"/>
          </p:cNvSpPr>
          <p:nvPr>
            <p:ph type="body" sz="quarter" idx="14"/>
          </p:nvPr>
        </p:nvSpPr>
        <p:spPr>
          <a:xfrm>
            <a:off x="2170634" y="3558875"/>
            <a:ext cx="9557238" cy="599382"/>
          </a:xfrm>
        </p:spPr>
        <p:txBody>
          <a:bodyPr/>
          <a:lstStyle/>
          <a:p>
            <a:pPr lvl="0"/>
            <a:r>
              <a:rPr lang="uk-UA" sz="2000" dirty="0"/>
              <a:t>професійна компетентність та належна ретельність </a:t>
            </a:r>
            <a:endParaRPr lang="uk-UA" sz="2000" dirty="0">
              <a:latin typeface="e-Ukraine UltraLight" panose="00000300000000000000" pitchFamily="50" charset="0"/>
            </a:endParaRPr>
          </a:p>
        </p:txBody>
      </p:sp>
      <p:sp>
        <p:nvSpPr>
          <p:cNvPr id="82" name="Text Placeholder 81">
            <a:extLst>
              <a:ext uri="{FF2B5EF4-FFF2-40B4-BE49-F238E27FC236}">
                <a16:creationId xmlns:a16="http://schemas.microsoft.com/office/drawing/2014/main" id="{B4943FBA-10B8-4193-8675-7937FA3D4523}"/>
              </a:ext>
            </a:extLst>
          </p:cNvPr>
          <p:cNvSpPr>
            <a:spLocks noGrp="1"/>
          </p:cNvSpPr>
          <p:nvPr>
            <p:ph type="body" sz="quarter" idx="15"/>
          </p:nvPr>
        </p:nvSpPr>
        <p:spPr>
          <a:xfrm>
            <a:off x="2170634" y="4186721"/>
            <a:ext cx="9557238" cy="528637"/>
          </a:xfrm>
        </p:spPr>
        <p:txBody>
          <a:bodyPr/>
          <a:lstStyle/>
          <a:p>
            <a:r>
              <a:rPr lang="uk-UA" sz="2000" dirty="0" smtClean="0">
                <a:solidFill>
                  <a:schemeClr val="tx1"/>
                </a:solidFill>
                <a:latin typeface="e-Ukraine UltraLight" panose="00000300000000000000" pitchFamily="50" charset="0"/>
              </a:rPr>
              <a:t>конфіденційність</a:t>
            </a:r>
            <a:endParaRPr lang="uk-UA" sz="2000" dirty="0">
              <a:solidFill>
                <a:schemeClr val="tx1"/>
              </a:solidFill>
              <a:latin typeface="e-Ukraine UltraLight" panose="00000300000000000000" pitchFamily="50" charset="0"/>
            </a:endParaRPr>
          </a:p>
        </p:txBody>
      </p:sp>
      <p:grpSp>
        <p:nvGrpSpPr>
          <p:cNvPr id="84" name="Group 83">
            <a:extLst>
              <a:ext uri="{FF2B5EF4-FFF2-40B4-BE49-F238E27FC236}">
                <a16:creationId xmlns:a16="http://schemas.microsoft.com/office/drawing/2014/main" id="{5CD9D068-5E66-42D3-B616-D9FD69239F8B}"/>
              </a:ext>
            </a:extLst>
          </p:cNvPr>
          <p:cNvGrpSpPr/>
          <p:nvPr/>
        </p:nvGrpSpPr>
        <p:grpSpPr>
          <a:xfrm>
            <a:off x="674033" y="2987446"/>
            <a:ext cx="1178953" cy="285403"/>
            <a:chOff x="695325" y="1577747"/>
            <a:chExt cx="3488539" cy="1051566"/>
          </a:xfrm>
        </p:grpSpPr>
        <p:sp>
          <p:nvSpPr>
            <p:cNvPr id="85" name="Google Shape;678;p25">
              <a:extLst>
                <a:ext uri="{FF2B5EF4-FFF2-40B4-BE49-F238E27FC236}">
                  <a16:creationId xmlns:a16="http://schemas.microsoft.com/office/drawing/2014/main" id="{1F05D8F0-F073-4D76-B0D3-FDE20AFB17F2}"/>
                </a:ext>
              </a:extLst>
            </p:cNvPr>
            <p:cNvSpPr/>
            <p:nvPr userDrawn="1"/>
          </p:nvSpPr>
          <p:spPr>
            <a:xfrm>
              <a:off x="695325" y="1577747"/>
              <a:ext cx="282535" cy="1051566"/>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6" name="Google Shape;679;p25">
              <a:extLst>
                <a:ext uri="{FF2B5EF4-FFF2-40B4-BE49-F238E27FC236}">
                  <a16:creationId xmlns:a16="http://schemas.microsoft.com/office/drawing/2014/main" id="{763403DF-62F6-40D1-B6F4-E31E91A4F3DC}"/>
                </a:ext>
              </a:extLst>
            </p:cNvPr>
            <p:cNvSpPr/>
            <p:nvPr userDrawn="1"/>
          </p:nvSpPr>
          <p:spPr>
            <a:xfrm>
              <a:off x="1051643" y="1577747"/>
              <a:ext cx="282535" cy="1051566"/>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680;p25">
              <a:extLst>
                <a:ext uri="{FF2B5EF4-FFF2-40B4-BE49-F238E27FC236}">
                  <a16:creationId xmlns:a16="http://schemas.microsoft.com/office/drawing/2014/main" id="{65D962CC-E5D2-4552-8C73-25F9A296D64A}"/>
                </a:ext>
              </a:extLst>
            </p:cNvPr>
            <p:cNvSpPr/>
            <p:nvPr userDrawn="1"/>
          </p:nvSpPr>
          <p:spPr>
            <a:xfrm>
              <a:off x="1407498" y="1577747"/>
              <a:ext cx="282535" cy="1051566"/>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8" name="Google Shape;681;p25">
              <a:extLst>
                <a:ext uri="{FF2B5EF4-FFF2-40B4-BE49-F238E27FC236}">
                  <a16:creationId xmlns:a16="http://schemas.microsoft.com/office/drawing/2014/main" id="{9AF71FCB-5916-4DE1-8661-7AE6E75B4515}"/>
                </a:ext>
              </a:extLst>
            </p:cNvPr>
            <p:cNvSpPr/>
            <p:nvPr userDrawn="1"/>
          </p:nvSpPr>
          <p:spPr>
            <a:xfrm>
              <a:off x="1763816" y="1577747"/>
              <a:ext cx="282567" cy="1051566"/>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9" name="Google Shape;682;p25">
              <a:extLst>
                <a:ext uri="{FF2B5EF4-FFF2-40B4-BE49-F238E27FC236}">
                  <a16:creationId xmlns:a16="http://schemas.microsoft.com/office/drawing/2014/main" id="{CF163C15-B2E7-48F7-B7A2-6921A637D62C}"/>
                </a:ext>
              </a:extLst>
            </p:cNvPr>
            <p:cNvSpPr/>
            <p:nvPr userDrawn="1"/>
          </p:nvSpPr>
          <p:spPr>
            <a:xfrm>
              <a:off x="2120170" y="1577747"/>
              <a:ext cx="282535" cy="105117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0" name="Google Shape;683;p25">
              <a:extLst>
                <a:ext uri="{FF2B5EF4-FFF2-40B4-BE49-F238E27FC236}">
                  <a16:creationId xmlns:a16="http://schemas.microsoft.com/office/drawing/2014/main" id="{31F0FE93-B255-4541-911F-04F2ED9018D2}"/>
                </a:ext>
              </a:extLst>
            </p:cNvPr>
            <p:cNvSpPr/>
            <p:nvPr userDrawn="1"/>
          </p:nvSpPr>
          <p:spPr>
            <a:xfrm>
              <a:off x="2476488" y="1577747"/>
              <a:ext cx="282535" cy="1051566"/>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1" name="Google Shape;684;p25">
              <a:extLst>
                <a:ext uri="{FF2B5EF4-FFF2-40B4-BE49-F238E27FC236}">
                  <a16:creationId xmlns:a16="http://schemas.microsoft.com/office/drawing/2014/main" id="{86DF9C59-3B67-4533-9E97-B89F1434D770}"/>
                </a:ext>
              </a:extLst>
            </p:cNvPr>
            <p:cNvSpPr/>
            <p:nvPr userDrawn="1"/>
          </p:nvSpPr>
          <p:spPr>
            <a:xfrm>
              <a:off x="2832802" y="1577747"/>
              <a:ext cx="282535" cy="1051566"/>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2" name="Google Shape;685;p25">
              <a:extLst>
                <a:ext uri="{FF2B5EF4-FFF2-40B4-BE49-F238E27FC236}">
                  <a16:creationId xmlns:a16="http://schemas.microsoft.com/office/drawing/2014/main" id="{63C03F73-738A-44A7-BA17-2E44EB74BC3B}"/>
                </a:ext>
              </a:extLst>
            </p:cNvPr>
            <p:cNvSpPr/>
            <p:nvPr userDrawn="1"/>
          </p:nvSpPr>
          <p:spPr>
            <a:xfrm>
              <a:off x="3188661" y="1577747"/>
              <a:ext cx="282567" cy="1051566"/>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3" name="Google Shape;686;p25">
              <a:extLst>
                <a:ext uri="{FF2B5EF4-FFF2-40B4-BE49-F238E27FC236}">
                  <a16:creationId xmlns:a16="http://schemas.microsoft.com/office/drawing/2014/main" id="{A60F60B2-71B6-4D13-A8F5-3A1F332A3BB9}"/>
                </a:ext>
              </a:extLst>
            </p:cNvPr>
            <p:cNvSpPr/>
            <p:nvPr userDrawn="1"/>
          </p:nvSpPr>
          <p:spPr>
            <a:xfrm>
              <a:off x="3545011" y="1577747"/>
              <a:ext cx="282535" cy="105117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4" name="Google Shape;687;p25">
              <a:extLst>
                <a:ext uri="{FF2B5EF4-FFF2-40B4-BE49-F238E27FC236}">
                  <a16:creationId xmlns:a16="http://schemas.microsoft.com/office/drawing/2014/main" id="{56DA9A14-3662-4F52-9316-F88C92715A7E}"/>
                </a:ext>
              </a:extLst>
            </p:cNvPr>
            <p:cNvSpPr/>
            <p:nvPr userDrawn="1"/>
          </p:nvSpPr>
          <p:spPr>
            <a:xfrm>
              <a:off x="3901329" y="1577747"/>
              <a:ext cx="282535" cy="1051566"/>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 name="Slide Number Placeholder 8">
            <a:extLst>
              <a:ext uri="{FF2B5EF4-FFF2-40B4-BE49-F238E27FC236}">
                <a16:creationId xmlns:a16="http://schemas.microsoft.com/office/drawing/2014/main" id="{1E75E444-140B-40DB-9ACD-914B33102DF9}"/>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0</a:t>
            </a:fld>
            <a:endParaRPr lang="uk-UA" sz="900" dirty="0">
              <a:latin typeface="+mn-lt"/>
            </a:endParaRPr>
          </a:p>
        </p:txBody>
      </p:sp>
      <p:sp>
        <p:nvSpPr>
          <p:cNvPr id="45" name="Text Placeholder 80">
            <a:extLst>
              <a:ext uri="{FF2B5EF4-FFF2-40B4-BE49-F238E27FC236}">
                <a16:creationId xmlns:a16="http://schemas.microsoft.com/office/drawing/2014/main" id="{91AE1181-75A8-4201-9819-7F993DA90A63}"/>
              </a:ext>
            </a:extLst>
          </p:cNvPr>
          <p:cNvSpPr>
            <a:spLocks noGrp="1"/>
          </p:cNvSpPr>
          <p:nvPr>
            <p:ph type="body" sz="quarter" idx="14"/>
          </p:nvPr>
        </p:nvSpPr>
        <p:spPr>
          <a:xfrm>
            <a:off x="2170634" y="2920167"/>
            <a:ext cx="9465106" cy="499307"/>
          </a:xfrm>
        </p:spPr>
        <p:txBody>
          <a:bodyPr/>
          <a:lstStyle/>
          <a:p>
            <a:r>
              <a:rPr lang="uk-UA" sz="2000" dirty="0"/>
              <a:t>об’єктивність </a:t>
            </a:r>
            <a:endParaRPr lang="uk-UA" sz="2000" dirty="0">
              <a:latin typeface="e-Ukraine UltraLight" panose="00000300000000000000" pitchFamily="50" charset="0"/>
            </a:endParaRPr>
          </a:p>
        </p:txBody>
      </p:sp>
      <p:grpSp>
        <p:nvGrpSpPr>
          <p:cNvPr id="57" name="Group 83">
            <a:extLst>
              <a:ext uri="{FF2B5EF4-FFF2-40B4-BE49-F238E27FC236}">
                <a16:creationId xmlns:a16="http://schemas.microsoft.com/office/drawing/2014/main" id="{5CD9D068-5E66-42D3-B616-D9FD69239F8B}"/>
              </a:ext>
            </a:extLst>
          </p:cNvPr>
          <p:cNvGrpSpPr/>
          <p:nvPr/>
        </p:nvGrpSpPr>
        <p:grpSpPr>
          <a:xfrm>
            <a:off x="663898" y="2320606"/>
            <a:ext cx="1178953" cy="285403"/>
            <a:chOff x="695325" y="1577747"/>
            <a:chExt cx="3488539" cy="1051566"/>
          </a:xfrm>
        </p:grpSpPr>
        <p:sp>
          <p:nvSpPr>
            <p:cNvPr id="58" name="Google Shape;678;p25">
              <a:extLst>
                <a:ext uri="{FF2B5EF4-FFF2-40B4-BE49-F238E27FC236}">
                  <a16:creationId xmlns:a16="http://schemas.microsoft.com/office/drawing/2014/main" id="{1F05D8F0-F073-4D76-B0D3-FDE20AFB17F2}"/>
                </a:ext>
              </a:extLst>
            </p:cNvPr>
            <p:cNvSpPr/>
            <p:nvPr userDrawn="1"/>
          </p:nvSpPr>
          <p:spPr>
            <a:xfrm>
              <a:off x="695325" y="1577747"/>
              <a:ext cx="282535" cy="1051566"/>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9" name="Google Shape;679;p25">
              <a:extLst>
                <a:ext uri="{FF2B5EF4-FFF2-40B4-BE49-F238E27FC236}">
                  <a16:creationId xmlns:a16="http://schemas.microsoft.com/office/drawing/2014/main" id="{763403DF-62F6-40D1-B6F4-E31E91A4F3DC}"/>
                </a:ext>
              </a:extLst>
            </p:cNvPr>
            <p:cNvSpPr/>
            <p:nvPr userDrawn="1"/>
          </p:nvSpPr>
          <p:spPr>
            <a:xfrm>
              <a:off x="1051643" y="1577747"/>
              <a:ext cx="282535" cy="1051566"/>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680;p25">
              <a:extLst>
                <a:ext uri="{FF2B5EF4-FFF2-40B4-BE49-F238E27FC236}">
                  <a16:creationId xmlns:a16="http://schemas.microsoft.com/office/drawing/2014/main" id="{65D962CC-E5D2-4552-8C73-25F9A296D64A}"/>
                </a:ext>
              </a:extLst>
            </p:cNvPr>
            <p:cNvSpPr/>
            <p:nvPr userDrawn="1"/>
          </p:nvSpPr>
          <p:spPr>
            <a:xfrm>
              <a:off x="1407498" y="1577747"/>
              <a:ext cx="282535" cy="1051566"/>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1" name="Google Shape;681;p25">
              <a:extLst>
                <a:ext uri="{FF2B5EF4-FFF2-40B4-BE49-F238E27FC236}">
                  <a16:creationId xmlns:a16="http://schemas.microsoft.com/office/drawing/2014/main" id="{9AF71FCB-5916-4DE1-8661-7AE6E75B4515}"/>
                </a:ext>
              </a:extLst>
            </p:cNvPr>
            <p:cNvSpPr/>
            <p:nvPr userDrawn="1"/>
          </p:nvSpPr>
          <p:spPr>
            <a:xfrm>
              <a:off x="1763816" y="1577747"/>
              <a:ext cx="282567" cy="1051566"/>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2" name="Google Shape;682;p25">
              <a:extLst>
                <a:ext uri="{FF2B5EF4-FFF2-40B4-BE49-F238E27FC236}">
                  <a16:creationId xmlns:a16="http://schemas.microsoft.com/office/drawing/2014/main" id="{CF163C15-B2E7-48F7-B7A2-6921A637D62C}"/>
                </a:ext>
              </a:extLst>
            </p:cNvPr>
            <p:cNvSpPr/>
            <p:nvPr userDrawn="1"/>
          </p:nvSpPr>
          <p:spPr>
            <a:xfrm>
              <a:off x="2120170" y="1577747"/>
              <a:ext cx="282535" cy="105117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3;p25">
              <a:extLst>
                <a:ext uri="{FF2B5EF4-FFF2-40B4-BE49-F238E27FC236}">
                  <a16:creationId xmlns:a16="http://schemas.microsoft.com/office/drawing/2014/main" id="{31F0FE93-B255-4541-911F-04F2ED9018D2}"/>
                </a:ext>
              </a:extLst>
            </p:cNvPr>
            <p:cNvSpPr/>
            <p:nvPr userDrawn="1"/>
          </p:nvSpPr>
          <p:spPr>
            <a:xfrm>
              <a:off x="2476488" y="1577747"/>
              <a:ext cx="282535" cy="1051566"/>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84;p25">
              <a:extLst>
                <a:ext uri="{FF2B5EF4-FFF2-40B4-BE49-F238E27FC236}">
                  <a16:creationId xmlns:a16="http://schemas.microsoft.com/office/drawing/2014/main" id="{86DF9C59-3B67-4533-9E97-B89F1434D770}"/>
                </a:ext>
              </a:extLst>
            </p:cNvPr>
            <p:cNvSpPr/>
            <p:nvPr userDrawn="1"/>
          </p:nvSpPr>
          <p:spPr>
            <a:xfrm>
              <a:off x="2832802" y="1577747"/>
              <a:ext cx="282535" cy="1051566"/>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5" name="Google Shape;685;p25">
              <a:extLst>
                <a:ext uri="{FF2B5EF4-FFF2-40B4-BE49-F238E27FC236}">
                  <a16:creationId xmlns:a16="http://schemas.microsoft.com/office/drawing/2014/main" id="{63C03F73-738A-44A7-BA17-2E44EB74BC3B}"/>
                </a:ext>
              </a:extLst>
            </p:cNvPr>
            <p:cNvSpPr/>
            <p:nvPr userDrawn="1"/>
          </p:nvSpPr>
          <p:spPr>
            <a:xfrm>
              <a:off x="3188661" y="1577747"/>
              <a:ext cx="282567" cy="1051566"/>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6" name="Google Shape;686;p25">
              <a:extLst>
                <a:ext uri="{FF2B5EF4-FFF2-40B4-BE49-F238E27FC236}">
                  <a16:creationId xmlns:a16="http://schemas.microsoft.com/office/drawing/2014/main" id="{A60F60B2-71B6-4D13-A8F5-3A1F332A3BB9}"/>
                </a:ext>
              </a:extLst>
            </p:cNvPr>
            <p:cNvSpPr/>
            <p:nvPr userDrawn="1"/>
          </p:nvSpPr>
          <p:spPr>
            <a:xfrm>
              <a:off x="3545011" y="1577747"/>
              <a:ext cx="282535" cy="105117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7" name="Google Shape;687;p25">
              <a:extLst>
                <a:ext uri="{FF2B5EF4-FFF2-40B4-BE49-F238E27FC236}">
                  <a16:creationId xmlns:a16="http://schemas.microsoft.com/office/drawing/2014/main" id="{56DA9A14-3662-4F52-9316-F88C92715A7E}"/>
                </a:ext>
              </a:extLst>
            </p:cNvPr>
            <p:cNvSpPr/>
            <p:nvPr userDrawn="1"/>
          </p:nvSpPr>
          <p:spPr>
            <a:xfrm>
              <a:off x="3901329" y="1577747"/>
              <a:ext cx="282535" cy="1051566"/>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68" name="Group 83">
            <a:extLst>
              <a:ext uri="{FF2B5EF4-FFF2-40B4-BE49-F238E27FC236}">
                <a16:creationId xmlns:a16="http://schemas.microsoft.com/office/drawing/2014/main" id="{5CD9D068-5E66-42D3-B616-D9FD69239F8B}"/>
              </a:ext>
            </a:extLst>
          </p:cNvPr>
          <p:cNvGrpSpPr/>
          <p:nvPr/>
        </p:nvGrpSpPr>
        <p:grpSpPr>
          <a:xfrm>
            <a:off x="663996" y="3622537"/>
            <a:ext cx="1178953" cy="285403"/>
            <a:chOff x="695325" y="1577747"/>
            <a:chExt cx="3488539" cy="1051566"/>
          </a:xfrm>
        </p:grpSpPr>
        <p:sp>
          <p:nvSpPr>
            <p:cNvPr id="69" name="Google Shape;678;p25">
              <a:extLst>
                <a:ext uri="{FF2B5EF4-FFF2-40B4-BE49-F238E27FC236}">
                  <a16:creationId xmlns:a16="http://schemas.microsoft.com/office/drawing/2014/main" id="{1F05D8F0-F073-4D76-B0D3-FDE20AFB17F2}"/>
                </a:ext>
              </a:extLst>
            </p:cNvPr>
            <p:cNvSpPr/>
            <p:nvPr userDrawn="1"/>
          </p:nvSpPr>
          <p:spPr>
            <a:xfrm>
              <a:off x="695325" y="1577747"/>
              <a:ext cx="282535" cy="1051566"/>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0" name="Google Shape;679;p25">
              <a:extLst>
                <a:ext uri="{FF2B5EF4-FFF2-40B4-BE49-F238E27FC236}">
                  <a16:creationId xmlns:a16="http://schemas.microsoft.com/office/drawing/2014/main" id="{763403DF-62F6-40D1-B6F4-E31E91A4F3DC}"/>
                </a:ext>
              </a:extLst>
            </p:cNvPr>
            <p:cNvSpPr/>
            <p:nvPr userDrawn="1"/>
          </p:nvSpPr>
          <p:spPr>
            <a:xfrm>
              <a:off x="1051643" y="1577747"/>
              <a:ext cx="282535" cy="1051566"/>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1" name="Google Shape;680;p25">
              <a:extLst>
                <a:ext uri="{FF2B5EF4-FFF2-40B4-BE49-F238E27FC236}">
                  <a16:creationId xmlns:a16="http://schemas.microsoft.com/office/drawing/2014/main" id="{65D962CC-E5D2-4552-8C73-25F9A296D64A}"/>
                </a:ext>
              </a:extLst>
            </p:cNvPr>
            <p:cNvSpPr/>
            <p:nvPr userDrawn="1"/>
          </p:nvSpPr>
          <p:spPr>
            <a:xfrm>
              <a:off x="1407498" y="1577747"/>
              <a:ext cx="282535" cy="1051566"/>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2" name="Google Shape;681;p25">
              <a:extLst>
                <a:ext uri="{FF2B5EF4-FFF2-40B4-BE49-F238E27FC236}">
                  <a16:creationId xmlns:a16="http://schemas.microsoft.com/office/drawing/2014/main" id="{9AF71FCB-5916-4DE1-8661-7AE6E75B4515}"/>
                </a:ext>
              </a:extLst>
            </p:cNvPr>
            <p:cNvSpPr/>
            <p:nvPr userDrawn="1"/>
          </p:nvSpPr>
          <p:spPr>
            <a:xfrm>
              <a:off x="1763816" y="1577747"/>
              <a:ext cx="282567" cy="1051566"/>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82;p25">
              <a:extLst>
                <a:ext uri="{FF2B5EF4-FFF2-40B4-BE49-F238E27FC236}">
                  <a16:creationId xmlns:a16="http://schemas.microsoft.com/office/drawing/2014/main" id="{CF163C15-B2E7-48F7-B7A2-6921A637D62C}"/>
                </a:ext>
              </a:extLst>
            </p:cNvPr>
            <p:cNvSpPr/>
            <p:nvPr userDrawn="1"/>
          </p:nvSpPr>
          <p:spPr>
            <a:xfrm>
              <a:off x="2120170" y="1577747"/>
              <a:ext cx="282535" cy="105117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683;p25">
              <a:extLst>
                <a:ext uri="{FF2B5EF4-FFF2-40B4-BE49-F238E27FC236}">
                  <a16:creationId xmlns:a16="http://schemas.microsoft.com/office/drawing/2014/main" id="{31F0FE93-B255-4541-911F-04F2ED9018D2}"/>
                </a:ext>
              </a:extLst>
            </p:cNvPr>
            <p:cNvSpPr/>
            <p:nvPr userDrawn="1"/>
          </p:nvSpPr>
          <p:spPr>
            <a:xfrm>
              <a:off x="2476488" y="1577747"/>
              <a:ext cx="282535" cy="1051566"/>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6" name="Google Shape;684;p25">
              <a:extLst>
                <a:ext uri="{FF2B5EF4-FFF2-40B4-BE49-F238E27FC236}">
                  <a16:creationId xmlns:a16="http://schemas.microsoft.com/office/drawing/2014/main" id="{86DF9C59-3B67-4533-9E97-B89F1434D770}"/>
                </a:ext>
              </a:extLst>
            </p:cNvPr>
            <p:cNvSpPr/>
            <p:nvPr userDrawn="1"/>
          </p:nvSpPr>
          <p:spPr>
            <a:xfrm>
              <a:off x="2832802" y="1577747"/>
              <a:ext cx="282535" cy="1051566"/>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85;p25">
              <a:extLst>
                <a:ext uri="{FF2B5EF4-FFF2-40B4-BE49-F238E27FC236}">
                  <a16:creationId xmlns:a16="http://schemas.microsoft.com/office/drawing/2014/main" id="{63C03F73-738A-44A7-BA17-2E44EB74BC3B}"/>
                </a:ext>
              </a:extLst>
            </p:cNvPr>
            <p:cNvSpPr/>
            <p:nvPr userDrawn="1"/>
          </p:nvSpPr>
          <p:spPr>
            <a:xfrm>
              <a:off x="3188661" y="1577747"/>
              <a:ext cx="282567" cy="1051566"/>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86;p25">
              <a:extLst>
                <a:ext uri="{FF2B5EF4-FFF2-40B4-BE49-F238E27FC236}">
                  <a16:creationId xmlns:a16="http://schemas.microsoft.com/office/drawing/2014/main" id="{A60F60B2-71B6-4D13-A8F5-3A1F332A3BB9}"/>
                </a:ext>
              </a:extLst>
            </p:cNvPr>
            <p:cNvSpPr/>
            <p:nvPr userDrawn="1"/>
          </p:nvSpPr>
          <p:spPr>
            <a:xfrm>
              <a:off x="3545011" y="1577747"/>
              <a:ext cx="282535" cy="105117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3" name="Google Shape;687;p25">
              <a:extLst>
                <a:ext uri="{FF2B5EF4-FFF2-40B4-BE49-F238E27FC236}">
                  <a16:creationId xmlns:a16="http://schemas.microsoft.com/office/drawing/2014/main" id="{56DA9A14-3662-4F52-9316-F88C92715A7E}"/>
                </a:ext>
              </a:extLst>
            </p:cNvPr>
            <p:cNvSpPr/>
            <p:nvPr userDrawn="1"/>
          </p:nvSpPr>
          <p:spPr>
            <a:xfrm>
              <a:off x="3901329" y="1577747"/>
              <a:ext cx="282535" cy="1051566"/>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106" name="Group 83">
            <a:extLst>
              <a:ext uri="{FF2B5EF4-FFF2-40B4-BE49-F238E27FC236}">
                <a16:creationId xmlns:a16="http://schemas.microsoft.com/office/drawing/2014/main" id="{5CD9D068-5E66-42D3-B616-D9FD69239F8B}"/>
              </a:ext>
            </a:extLst>
          </p:cNvPr>
          <p:cNvGrpSpPr/>
          <p:nvPr/>
        </p:nvGrpSpPr>
        <p:grpSpPr>
          <a:xfrm>
            <a:off x="641796" y="4257841"/>
            <a:ext cx="1178953" cy="285403"/>
            <a:chOff x="695325" y="1577747"/>
            <a:chExt cx="3488539" cy="1051566"/>
          </a:xfrm>
        </p:grpSpPr>
        <p:sp>
          <p:nvSpPr>
            <p:cNvPr id="107" name="Google Shape;678;p25">
              <a:extLst>
                <a:ext uri="{FF2B5EF4-FFF2-40B4-BE49-F238E27FC236}">
                  <a16:creationId xmlns:a16="http://schemas.microsoft.com/office/drawing/2014/main" id="{1F05D8F0-F073-4D76-B0D3-FDE20AFB17F2}"/>
                </a:ext>
              </a:extLst>
            </p:cNvPr>
            <p:cNvSpPr/>
            <p:nvPr userDrawn="1"/>
          </p:nvSpPr>
          <p:spPr>
            <a:xfrm>
              <a:off x="695325" y="1577747"/>
              <a:ext cx="282535" cy="1051566"/>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8" name="Google Shape;679;p25">
              <a:extLst>
                <a:ext uri="{FF2B5EF4-FFF2-40B4-BE49-F238E27FC236}">
                  <a16:creationId xmlns:a16="http://schemas.microsoft.com/office/drawing/2014/main" id="{763403DF-62F6-40D1-B6F4-E31E91A4F3DC}"/>
                </a:ext>
              </a:extLst>
            </p:cNvPr>
            <p:cNvSpPr/>
            <p:nvPr userDrawn="1"/>
          </p:nvSpPr>
          <p:spPr>
            <a:xfrm>
              <a:off x="1051643" y="1577747"/>
              <a:ext cx="282535" cy="1051566"/>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9" name="Google Shape;680;p25">
              <a:extLst>
                <a:ext uri="{FF2B5EF4-FFF2-40B4-BE49-F238E27FC236}">
                  <a16:creationId xmlns:a16="http://schemas.microsoft.com/office/drawing/2014/main" id="{65D962CC-E5D2-4552-8C73-25F9A296D64A}"/>
                </a:ext>
              </a:extLst>
            </p:cNvPr>
            <p:cNvSpPr/>
            <p:nvPr userDrawn="1"/>
          </p:nvSpPr>
          <p:spPr>
            <a:xfrm>
              <a:off x="1407498" y="1577747"/>
              <a:ext cx="282535" cy="1051566"/>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0" name="Google Shape;681;p25">
              <a:extLst>
                <a:ext uri="{FF2B5EF4-FFF2-40B4-BE49-F238E27FC236}">
                  <a16:creationId xmlns:a16="http://schemas.microsoft.com/office/drawing/2014/main" id="{9AF71FCB-5916-4DE1-8661-7AE6E75B4515}"/>
                </a:ext>
              </a:extLst>
            </p:cNvPr>
            <p:cNvSpPr/>
            <p:nvPr userDrawn="1"/>
          </p:nvSpPr>
          <p:spPr>
            <a:xfrm>
              <a:off x="1763816" y="1577747"/>
              <a:ext cx="282567" cy="1051566"/>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1" name="Google Shape;682;p25">
              <a:extLst>
                <a:ext uri="{FF2B5EF4-FFF2-40B4-BE49-F238E27FC236}">
                  <a16:creationId xmlns:a16="http://schemas.microsoft.com/office/drawing/2014/main" id="{CF163C15-B2E7-48F7-B7A2-6921A637D62C}"/>
                </a:ext>
              </a:extLst>
            </p:cNvPr>
            <p:cNvSpPr/>
            <p:nvPr userDrawn="1"/>
          </p:nvSpPr>
          <p:spPr>
            <a:xfrm>
              <a:off x="2120170" y="1577747"/>
              <a:ext cx="282535" cy="105117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2" name="Google Shape;683;p25">
              <a:extLst>
                <a:ext uri="{FF2B5EF4-FFF2-40B4-BE49-F238E27FC236}">
                  <a16:creationId xmlns:a16="http://schemas.microsoft.com/office/drawing/2014/main" id="{31F0FE93-B255-4541-911F-04F2ED9018D2}"/>
                </a:ext>
              </a:extLst>
            </p:cNvPr>
            <p:cNvSpPr/>
            <p:nvPr userDrawn="1"/>
          </p:nvSpPr>
          <p:spPr>
            <a:xfrm>
              <a:off x="2476488" y="1577747"/>
              <a:ext cx="282535" cy="1051566"/>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3" name="Google Shape;684;p25">
              <a:extLst>
                <a:ext uri="{FF2B5EF4-FFF2-40B4-BE49-F238E27FC236}">
                  <a16:creationId xmlns:a16="http://schemas.microsoft.com/office/drawing/2014/main" id="{86DF9C59-3B67-4533-9E97-B89F1434D770}"/>
                </a:ext>
              </a:extLst>
            </p:cNvPr>
            <p:cNvSpPr/>
            <p:nvPr userDrawn="1"/>
          </p:nvSpPr>
          <p:spPr>
            <a:xfrm>
              <a:off x="2832802" y="1577747"/>
              <a:ext cx="282535" cy="1051566"/>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4" name="Google Shape;685;p25">
              <a:extLst>
                <a:ext uri="{FF2B5EF4-FFF2-40B4-BE49-F238E27FC236}">
                  <a16:creationId xmlns:a16="http://schemas.microsoft.com/office/drawing/2014/main" id="{63C03F73-738A-44A7-BA17-2E44EB74BC3B}"/>
                </a:ext>
              </a:extLst>
            </p:cNvPr>
            <p:cNvSpPr/>
            <p:nvPr userDrawn="1"/>
          </p:nvSpPr>
          <p:spPr>
            <a:xfrm>
              <a:off x="3188661" y="1577747"/>
              <a:ext cx="282567" cy="1051566"/>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5" name="Google Shape;686;p25">
              <a:extLst>
                <a:ext uri="{FF2B5EF4-FFF2-40B4-BE49-F238E27FC236}">
                  <a16:creationId xmlns:a16="http://schemas.microsoft.com/office/drawing/2014/main" id="{A60F60B2-71B6-4D13-A8F5-3A1F332A3BB9}"/>
                </a:ext>
              </a:extLst>
            </p:cNvPr>
            <p:cNvSpPr/>
            <p:nvPr userDrawn="1"/>
          </p:nvSpPr>
          <p:spPr>
            <a:xfrm>
              <a:off x="3545011" y="1577747"/>
              <a:ext cx="282535" cy="105117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6" name="Google Shape;687;p25">
              <a:extLst>
                <a:ext uri="{FF2B5EF4-FFF2-40B4-BE49-F238E27FC236}">
                  <a16:creationId xmlns:a16="http://schemas.microsoft.com/office/drawing/2014/main" id="{56DA9A14-3662-4F52-9316-F88C92715A7E}"/>
                </a:ext>
              </a:extLst>
            </p:cNvPr>
            <p:cNvSpPr/>
            <p:nvPr userDrawn="1"/>
          </p:nvSpPr>
          <p:spPr>
            <a:xfrm>
              <a:off x="3901329" y="1577747"/>
              <a:ext cx="282535" cy="1051566"/>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117" name="Group 83">
            <a:extLst>
              <a:ext uri="{FF2B5EF4-FFF2-40B4-BE49-F238E27FC236}">
                <a16:creationId xmlns:a16="http://schemas.microsoft.com/office/drawing/2014/main" id="{5CD9D068-5E66-42D3-B616-D9FD69239F8B}"/>
              </a:ext>
            </a:extLst>
          </p:cNvPr>
          <p:cNvGrpSpPr/>
          <p:nvPr/>
        </p:nvGrpSpPr>
        <p:grpSpPr>
          <a:xfrm>
            <a:off x="641796" y="4990149"/>
            <a:ext cx="1178953" cy="285403"/>
            <a:chOff x="695325" y="1577747"/>
            <a:chExt cx="3488539" cy="1051566"/>
          </a:xfrm>
        </p:grpSpPr>
        <p:sp>
          <p:nvSpPr>
            <p:cNvPr id="118" name="Google Shape;678;p25">
              <a:extLst>
                <a:ext uri="{FF2B5EF4-FFF2-40B4-BE49-F238E27FC236}">
                  <a16:creationId xmlns:a16="http://schemas.microsoft.com/office/drawing/2014/main" id="{1F05D8F0-F073-4D76-B0D3-FDE20AFB17F2}"/>
                </a:ext>
              </a:extLst>
            </p:cNvPr>
            <p:cNvSpPr/>
            <p:nvPr userDrawn="1"/>
          </p:nvSpPr>
          <p:spPr>
            <a:xfrm>
              <a:off x="695325" y="1577747"/>
              <a:ext cx="282535" cy="1051566"/>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9" name="Google Shape;679;p25">
              <a:extLst>
                <a:ext uri="{FF2B5EF4-FFF2-40B4-BE49-F238E27FC236}">
                  <a16:creationId xmlns:a16="http://schemas.microsoft.com/office/drawing/2014/main" id="{763403DF-62F6-40D1-B6F4-E31E91A4F3DC}"/>
                </a:ext>
              </a:extLst>
            </p:cNvPr>
            <p:cNvSpPr/>
            <p:nvPr userDrawn="1"/>
          </p:nvSpPr>
          <p:spPr>
            <a:xfrm>
              <a:off x="1051643" y="1577747"/>
              <a:ext cx="282535" cy="1051566"/>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0" name="Google Shape;680;p25">
              <a:extLst>
                <a:ext uri="{FF2B5EF4-FFF2-40B4-BE49-F238E27FC236}">
                  <a16:creationId xmlns:a16="http://schemas.microsoft.com/office/drawing/2014/main" id="{65D962CC-E5D2-4552-8C73-25F9A296D64A}"/>
                </a:ext>
              </a:extLst>
            </p:cNvPr>
            <p:cNvSpPr/>
            <p:nvPr userDrawn="1"/>
          </p:nvSpPr>
          <p:spPr>
            <a:xfrm>
              <a:off x="1407498" y="1577747"/>
              <a:ext cx="282535" cy="1051566"/>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1" name="Google Shape;681;p25">
              <a:extLst>
                <a:ext uri="{FF2B5EF4-FFF2-40B4-BE49-F238E27FC236}">
                  <a16:creationId xmlns:a16="http://schemas.microsoft.com/office/drawing/2014/main" id="{9AF71FCB-5916-4DE1-8661-7AE6E75B4515}"/>
                </a:ext>
              </a:extLst>
            </p:cNvPr>
            <p:cNvSpPr/>
            <p:nvPr userDrawn="1"/>
          </p:nvSpPr>
          <p:spPr>
            <a:xfrm>
              <a:off x="1763816" y="1577747"/>
              <a:ext cx="282567" cy="1051566"/>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2" name="Google Shape;682;p25">
              <a:extLst>
                <a:ext uri="{FF2B5EF4-FFF2-40B4-BE49-F238E27FC236}">
                  <a16:creationId xmlns:a16="http://schemas.microsoft.com/office/drawing/2014/main" id="{CF163C15-B2E7-48F7-B7A2-6921A637D62C}"/>
                </a:ext>
              </a:extLst>
            </p:cNvPr>
            <p:cNvSpPr/>
            <p:nvPr userDrawn="1"/>
          </p:nvSpPr>
          <p:spPr>
            <a:xfrm>
              <a:off x="2120170" y="1577747"/>
              <a:ext cx="282535" cy="105117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3" name="Google Shape;683;p25">
              <a:extLst>
                <a:ext uri="{FF2B5EF4-FFF2-40B4-BE49-F238E27FC236}">
                  <a16:creationId xmlns:a16="http://schemas.microsoft.com/office/drawing/2014/main" id="{31F0FE93-B255-4541-911F-04F2ED9018D2}"/>
                </a:ext>
              </a:extLst>
            </p:cNvPr>
            <p:cNvSpPr/>
            <p:nvPr userDrawn="1"/>
          </p:nvSpPr>
          <p:spPr>
            <a:xfrm>
              <a:off x="2476488" y="1577747"/>
              <a:ext cx="282535" cy="1051566"/>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4" name="Google Shape;684;p25">
              <a:extLst>
                <a:ext uri="{FF2B5EF4-FFF2-40B4-BE49-F238E27FC236}">
                  <a16:creationId xmlns:a16="http://schemas.microsoft.com/office/drawing/2014/main" id="{86DF9C59-3B67-4533-9E97-B89F1434D770}"/>
                </a:ext>
              </a:extLst>
            </p:cNvPr>
            <p:cNvSpPr/>
            <p:nvPr userDrawn="1"/>
          </p:nvSpPr>
          <p:spPr>
            <a:xfrm>
              <a:off x="2832802" y="1577747"/>
              <a:ext cx="282535" cy="1051566"/>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5" name="Google Shape;685;p25">
              <a:extLst>
                <a:ext uri="{FF2B5EF4-FFF2-40B4-BE49-F238E27FC236}">
                  <a16:creationId xmlns:a16="http://schemas.microsoft.com/office/drawing/2014/main" id="{63C03F73-738A-44A7-BA17-2E44EB74BC3B}"/>
                </a:ext>
              </a:extLst>
            </p:cNvPr>
            <p:cNvSpPr/>
            <p:nvPr userDrawn="1"/>
          </p:nvSpPr>
          <p:spPr>
            <a:xfrm>
              <a:off x="3188661" y="1577747"/>
              <a:ext cx="282567" cy="1051566"/>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6" name="Google Shape;686;p25">
              <a:extLst>
                <a:ext uri="{FF2B5EF4-FFF2-40B4-BE49-F238E27FC236}">
                  <a16:creationId xmlns:a16="http://schemas.microsoft.com/office/drawing/2014/main" id="{A60F60B2-71B6-4D13-A8F5-3A1F332A3BB9}"/>
                </a:ext>
              </a:extLst>
            </p:cNvPr>
            <p:cNvSpPr/>
            <p:nvPr userDrawn="1"/>
          </p:nvSpPr>
          <p:spPr>
            <a:xfrm>
              <a:off x="3545011" y="1577747"/>
              <a:ext cx="282535" cy="105117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7" name="Google Shape;687;p25">
              <a:extLst>
                <a:ext uri="{FF2B5EF4-FFF2-40B4-BE49-F238E27FC236}">
                  <a16:creationId xmlns:a16="http://schemas.microsoft.com/office/drawing/2014/main" id="{56DA9A14-3662-4F52-9316-F88C92715A7E}"/>
                </a:ext>
              </a:extLst>
            </p:cNvPr>
            <p:cNvSpPr/>
            <p:nvPr userDrawn="1"/>
          </p:nvSpPr>
          <p:spPr>
            <a:xfrm>
              <a:off x="3901329" y="1577747"/>
              <a:ext cx="282535" cy="1051566"/>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chemeClr val="bg2">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28" name="Text Placeholder 81">
            <a:extLst>
              <a:ext uri="{FF2B5EF4-FFF2-40B4-BE49-F238E27FC236}">
                <a16:creationId xmlns:a16="http://schemas.microsoft.com/office/drawing/2014/main" id="{B4943FBA-10B8-4193-8675-7937FA3D4523}"/>
              </a:ext>
            </a:extLst>
          </p:cNvPr>
          <p:cNvSpPr>
            <a:spLocks noGrp="1"/>
          </p:cNvSpPr>
          <p:nvPr>
            <p:ph type="body" sz="quarter" idx="15"/>
          </p:nvPr>
        </p:nvSpPr>
        <p:spPr>
          <a:xfrm>
            <a:off x="2170634" y="4890772"/>
            <a:ext cx="9557238" cy="528637"/>
          </a:xfrm>
        </p:spPr>
        <p:txBody>
          <a:bodyPr/>
          <a:lstStyle/>
          <a:p>
            <a:r>
              <a:rPr lang="uk-UA" sz="2000" dirty="0">
                <a:solidFill>
                  <a:schemeClr val="tx1"/>
                </a:solidFill>
                <a:latin typeface="e-Ukraine UltraLight" panose="00000300000000000000" pitchFamily="50" charset="0"/>
              </a:rPr>
              <a:t>п</a:t>
            </a:r>
            <a:r>
              <a:rPr lang="uk-UA" sz="2000" dirty="0" smtClean="0">
                <a:solidFill>
                  <a:schemeClr val="tx1"/>
                </a:solidFill>
                <a:latin typeface="e-Ukraine UltraLight" panose="00000300000000000000" pitchFamily="50" charset="0"/>
              </a:rPr>
              <a:t>рофесійна поведінка</a:t>
            </a:r>
            <a:endParaRPr lang="uk-UA" sz="2000" dirty="0">
              <a:solidFill>
                <a:schemeClr val="tx1"/>
              </a:solidFill>
              <a:latin typeface="e-Ukraine UltraLight" panose="00000300000000000000" pitchFamily="50" charset="0"/>
            </a:endParaRPr>
          </a:p>
        </p:txBody>
      </p:sp>
    </p:spTree>
    <p:extLst>
      <p:ext uri="{BB962C8B-B14F-4D97-AF65-F5344CB8AC3E}">
        <p14:creationId xmlns:p14="http://schemas.microsoft.com/office/powerpoint/2010/main" val="3780874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3440"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89017C72-A07D-4DA0-82B8-1E1E5E8D3E52}"/>
              </a:ext>
            </a:extLst>
          </p:cNvPr>
          <p:cNvSpPr>
            <a:spLocks noGrp="1"/>
          </p:cNvSpPr>
          <p:nvPr>
            <p:ph type="body" sz="quarter" idx="15"/>
          </p:nvPr>
        </p:nvSpPr>
        <p:spPr/>
        <p:txBody>
          <a:bodyPr/>
          <a:lstStyle/>
          <a:p>
            <a:r>
              <a:rPr lang="uk-UA" dirty="0" smtClean="0"/>
              <a:t>Закону </a:t>
            </a:r>
            <a:r>
              <a:rPr lang="uk-UA" dirty="0"/>
              <a:t>про бухгалтерський облік </a:t>
            </a:r>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dirty="0"/>
              <a:t>Прозорість діяльності підприємства</a:t>
            </a:r>
            <a:endParaRPr lang="en-US" dirty="0"/>
          </a:p>
        </p:txBody>
      </p:sp>
      <p:sp>
        <p:nvSpPr>
          <p:cNvPr id="28" name="Text Placeholder 27">
            <a:extLst>
              <a:ext uri="{FF2B5EF4-FFF2-40B4-BE49-F238E27FC236}">
                <a16:creationId xmlns:a16="http://schemas.microsoft.com/office/drawing/2014/main" id="{D9AC67CC-64B8-4CCF-B227-DAAE2C081C5A}"/>
              </a:ext>
            </a:extLst>
          </p:cNvPr>
          <p:cNvSpPr>
            <a:spLocks noGrp="1"/>
          </p:cNvSpPr>
          <p:nvPr>
            <p:ph type="body" sz="quarter" idx="17"/>
          </p:nvPr>
        </p:nvSpPr>
        <p:spPr/>
        <p:txBody>
          <a:bodyPr/>
          <a:lstStyle/>
          <a:p>
            <a:r>
              <a:rPr lang="uk-UA" sz="1800" dirty="0" smtClean="0"/>
              <a:t>Нефінансове звітування підприємств закріплено відповідно до положень </a:t>
            </a:r>
            <a:endParaRPr lang="uk-UA" sz="1800" dirty="0"/>
          </a:p>
        </p:txBody>
      </p:sp>
      <p:sp>
        <p:nvSpPr>
          <p:cNvPr id="29" name="Text Placeholder 28">
            <a:extLst>
              <a:ext uri="{FF2B5EF4-FFF2-40B4-BE49-F238E27FC236}">
                <a16:creationId xmlns:a16="http://schemas.microsoft.com/office/drawing/2014/main" id="{2FD1C625-5931-4D63-BA70-660E6E757BA9}"/>
              </a:ext>
            </a:extLst>
          </p:cNvPr>
          <p:cNvSpPr>
            <a:spLocks noGrp="1"/>
          </p:cNvSpPr>
          <p:nvPr>
            <p:ph type="body" sz="quarter" idx="19"/>
          </p:nvPr>
        </p:nvSpPr>
        <p:spPr/>
        <p:txBody>
          <a:bodyPr/>
          <a:lstStyle/>
          <a:p>
            <a:r>
              <a:rPr lang="uk-UA" dirty="0"/>
              <a:t>Порядку подання фінансової звітності </a:t>
            </a:r>
          </a:p>
        </p:txBody>
      </p:sp>
      <p:sp>
        <p:nvSpPr>
          <p:cNvPr id="12" name="Text Placeholder 11">
            <a:extLst>
              <a:ext uri="{FF2B5EF4-FFF2-40B4-BE49-F238E27FC236}">
                <a16:creationId xmlns:a16="http://schemas.microsoft.com/office/drawing/2014/main" id="{36F2BCF7-16C9-4141-944C-78270B12DACC}"/>
              </a:ext>
            </a:extLst>
          </p:cNvPr>
          <p:cNvSpPr>
            <a:spLocks noGrp="1"/>
          </p:cNvSpPr>
          <p:nvPr>
            <p:ph type="body" sz="quarter" idx="23"/>
          </p:nvPr>
        </p:nvSpPr>
        <p:spPr/>
        <p:txBody>
          <a:bodyPr/>
          <a:lstStyle/>
          <a:p>
            <a:r>
              <a:rPr lang="uk-UA" dirty="0"/>
              <a:t>Методичних рекомендаціях зі складання звіту про управління. </a:t>
            </a:r>
          </a:p>
        </p:txBody>
      </p:sp>
      <p:sp>
        <p:nvSpPr>
          <p:cNvPr id="46" name="Graphic 20">
            <a:extLst>
              <a:ext uri="{FF2B5EF4-FFF2-40B4-BE49-F238E27FC236}">
                <a16:creationId xmlns:a16="http://schemas.microsoft.com/office/drawing/2014/main" id="{151FBCBB-58A2-4DE4-B34F-10B5F795818E}"/>
              </a:ext>
            </a:extLst>
          </p:cNvPr>
          <p:cNvSpPr/>
          <p:nvPr/>
        </p:nvSpPr>
        <p:spPr>
          <a:xfrm>
            <a:off x="375456" y="3679790"/>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grpSp>
        <p:nvGrpSpPr>
          <p:cNvPr id="47" name="Google Shape;6892;p57">
            <a:extLst>
              <a:ext uri="{FF2B5EF4-FFF2-40B4-BE49-F238E27FC236}">
                <a16:creationId xmlns:a16="http://schemas.microsoft.com/office/drawing/2014/main" id="{591042BF-C1C3-4ABC-951B-97CB9F142D39}"/>
              </a:ext>
            </a:extLst>
          </p:cNvPr>
          <p:cNvGrpSpPr/>
          <p:nvPr/>
        </p:nvGrpSpPr>
        <p:grpSpPr>
          <a:xfrm>
            <a:off x="695325" y="3608932"/>
            <a:ext cx="610999" cy="597423"/>
            <a:chOff x="-42430625" y="1949750"/>
            <a:chExt cx="322950" cy="315775"/>
          </a:xfrm>
          <a:solidFill>
            <a:schemeClr val="tx1"/>
          </a:solidFill>
        </p:grpSpPr>
        <p:sp>
          <p:nvSpPr>
            <p:cNvPr id="48" name="Google Shape;6893;p57">
              <a:extLst>
                <a:ext uri="{FF2B5EF4-FFF2-40B4-BE49-F238E27FC236}">
                  <a16:creationId xmlns:a16="http://schemas.microsoft.com/office/drawing/2014/main" id="{13648D1A-6776-45E0-B8B0-FA5ADCAD99E7}"/>
                </a:ext>
              </a:extLst>
            </p:cNvPr>
            <p:cNvSpPr/>
            <p:nvPr/>
          </p:nvSpPr>
          <p:spPr>
            <a:xfrm>
              <a:off x="-423534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61" y="1639"/>
                    <a:pt x="1639" y="1293"/>
                    <a:pt x="1639" y="820"/>
                  </a:cubicBezTo>
                  <a:cubicBezTo>
                    <a:pt x="1639" y="379"/>
                    <a:pt x="1261" y="1"/>
                    <a:pt x="82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6894;p57">
              <a:extLst>
                <a:ext uri="{FF2B5EF4-FFF2-40B4-BE49-F238E27FC236}">
                  <a16:creationId xmlns:a16="http://schemas.microsoft.com/office/drawing/2014/main" id="{DC463FE6-5BBB-4851-9311-1A030070A24A}"/>
                </a:ext>
              </a:extLst>
            </p:cNvPr>
            <p:cNvSpPr/>
            <p:nvPr/>
          </p:nvSpPr>
          <p:spPr>
            <a:xfrm>
              <a:off x="-422896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92" y="1639"/>
                    <a:pt x="1639" y="1293"/>
                    <a:pt x="1639" y="820"/>
                  </a:cubicBezTo>
                  <a:cubicBezTo>
                    <a:pt x="1639" y="379"/>
                    <a:pt x="1292" y="1"/>
                    <a:pt x="82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6895;p57">
              <a:extLst>
                <a:ext uri="{FF2B5EF4-FFF2-40B4-BE49-F238E27FC236}">
                  <a16:creationId xmlns:a16="http://schemas.microsoft.com/office/drawing/2014/main" id="{F85506E8-0EB0-40DA-BEE2-131E7B11C0CE}"/>
                </a:ext>
              </a:extLst>
            </p:cNvPr>
            <p:cNvSpPr/>
            <p:nvPr/>
          </p:nvSpPr>
          <p:spPr>
            <a:xfrm>
              <a:off x="-42226625" y="2065525"/>
              <a:ext cx="40975" cy="41000"/>
            </a:xfrm>
            <a:custGeom>
              <a:avLst/>
              <a:gdLst/>
              <a:ahLst/>
              <a:cxnLst/>
              <a:rect l="l" t="t" r="r" b="b"/>
              <a:pathLst>
                <a:path w="1639" h="1640" extrusionOk="0">
                  <a:moveTo>
                    <a:pt x="819" y="1"/>
                  </a:moveTo>
                  <a:cubicBezTo>
                    <a:pt x="378" y="1"/>
                    <a:pt x="0" y="379"/>
                    <a:pt x="0" y="820"/>
                  </a:cubicBezTo>
                  <a:cubicBezTo>
                    <a:pt x="0" y="1293"/>
                    <a:pt x="378" y="1639"/>
                    <a:pt x="819" y="1639"/>
                  </a:cubicBezTo>
                  <a:cubicBezTo>
                    <a:pt x="1292" y="1639"/>
                    <a:pt x="1638" y="1293"/>
                    <a:pt x="1638" y="820"/>
                  </a:cubicBezTo>
                  <a:cubicBezTo>
                    <a:pt x="1638" y="379"/>
                    <a:pt x="1292" y="1"/>
                    <a:pt x="81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Google Shape;6896;p57">
              <a:extLst>
                <a:ext uri="{FF2B5EF4-FFF2-40B4-BE49-F238E27FC236}">
                  <a16:creationId xmlns:a16="http://schemas.microsoft.com/office/drawing/2014/main" id="{E6D2E051-22A7-4150-A0AE-2AD26E246439}"/>
                </a:ext>
              </a:extLst>
            </p:cNvPr>
            <p:cNvSpPr/>
            <p:nvPr/>
          </p:nvSpPr>
          <p:spPr>
            <a:xfrm>
              <a:off x="-42430625" y="1949750"/>
              <a:ext cx="322950" cy="315775"/>
            </a:xfrm>
            <a:custGeom>
              <a:avLst/>
              <a:gdLst/>
              <a:ahLst/>
              <a:cxnLst/>
              <a:rect l="l" t="t" r="r" b="b"/>
              <a:pathLst>
                <a:path w="12918" h="12631" extrusionOk="0">
                  <a:moveTo>
                    <a:pt x="6427" y="757"/>
                  </a:moveTo>
                  <a:cubicBezTo>
                    <a:pt x="8790" y="757"/>
                    <a:pt x="10712" y="2017"/>
                    <a:pt x="11500" y="3655"/>
                  </a:cubicBezTo>
                  <a:cubicBezTo>
                    <a:pt x="12098" y="4821"/>
                    <a:pt x="12098" y="6081"/>
                    <a:pt x="11500" y="7215"/>
                  </a:cubicBezTo>
                  <a:cubicBezTo>
                    <a:pt x="10679" y="8857"/>
                    <a:pt x="8789" y="10067"/>
                    <a:pt x="6472" y="10067"/>
                  </a:cubicBezTo>
                  <a:cubicBezTo>
                    <a:pt x="6210" y="10067"/>
                    <a:pt x="5943" y="10051"/>
                    <a:pt x="5671" y="10019"/>
                  </a:cubicBezTo>
                  <a:cubicBezTo>
                    <a:pt x="5545" y="10019"/>
                    <a:pt x="5451" y="10051"/>
                    <a:pt x="5325" y="10145"/>
                  </a:cubicBezTo>
                  <a:lnTo>
                    <a:pt x="4285" y="11153"/>
                  </a:lnTo>
                  <a:lnTo>
                    <a:pt x="4285" y="9988"/>
                  </a:lnTo>
                  <a:cubicBezTo>
                    <a:pt x="4285" y="9830"/>
                    <a:pt x="4190" y="9673"/>
                    <a:pt x="4033" y="9578"/>
                  </a:cubicBezTo>
                  <a:cubicBezTo>
                    <a:pt x="3088" y="9200"/>
                    <a:pt x="2300" y="8602"/>
                    <a:pt x="1796" y="7908"/>
                  </a:cubicBezTo>
                  <a:cubicBezTo>
                    <a:pt x="0" y="5577"/>
                    <a:pt x="1071" y="2458"/>
                    <a:pt x="4033" y="1229"/>
                  </a:cubicBezTo>
                  <a:cubicBezTo>
                    <a:pt x="4726" y="914"/>
                    <a:pt x="5545" y="757"/>
                    <a:pt x="6427" y="757"/>
                  </a:cubicBezTo>
                  <a:close/>
                  <a:moveTo>
                    <a:pt x="6427" y="1"/>
                  </a:moveTo>
                  <a:cubicBezTo>
                    <a:pt x="2962" y="1"/>
                    <a:pt x="126" y="2427"/>
                    <a:pt x="126" y="5451"/>
                  </a:cubicBezTo>
                  <a:cubicBezTo>
                    <a:pt x="126" y="7593"/>
                    <a:pt x="1544" y="9389"/>
                    <a:pt x="3497" y="10303"/>
                  </a:cubicBezTo>
                  <a:lnTo>
                    <a:pt x="3497" y="12193"/>
                  </a:lnTo>
                  <a:cubicBezTo>
                    <a:pt x="3497" y="12319"/>
                    <a:pt x="3560" y="12477"/>
                    <a:pt x="3655" y="12540"/>
                  </a:cubicBezTo>
                  <a:cubicBezTo>
                    <a:pt x="3729" y="12599"/>
                    <a:pt x="3825" y="12631"/>
                    <a:pt x="3921" y="12631"/>
                  </a:cubicBezTo>
                  <a:cubicBezTo>
                    <a:pt x="4029" y="12631"/>
                    <a:pt x="4139" y="12591"/>
                    <a:pt x="4222" y="12508"/>
                  </a:cubicBezTo>
                  <a:lnTo>
                    <a:pt x="5829" y="10901"/>
                  </a:lnTo>
                  <a:cubicBezTo>
                    <a:pt x="6063" y="10925"/>
                    <a:pt x="6295" y="10936"/>
                    <a:pt x="6524" y="10936"/>
                  </a:cubicBezTo>
                  <a:cubicBezTo>
                    <a:pt x="9075" y="10936"/>
                    <a:pt x="11304" y="9530"/>
                    <a:pt x="12287" y="7593"/>
                  </a:cubicBezTo>
                  <a:cubicBezTo>
                    <a:pt x="12917" y="6239"/>
                    <a:pt x="12917" y="4663"/>
                    <a:pt x="12256" y="3309"/>
                  </a:cubicBezTo>
                  <a:cubicBezTo>
                    <a:pt x="11311" y="1324"/>
                    <a:pt x="9074" y="1"/>
                    <a:pt x="642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52" name="Graphic 20">
            <a:extLst>
              <a:ext uri="{FF2B5EF4-FFF2-40B4-BE49-F238E27FC236}">
                <a16:creationId xmlns:a16="http://schemas.microsoft.com/office/drawing/2014/main" id="{ED0C0798-597F-4E55-A327-EF10F88D99BD}"/>
              </a:ext>
            </a:extLst>
          </p:cNvPr>
          <p:cNvSpPr/>
          <p:nvPr/>
        </p:nvSpPr>
        <p:spPr>
          <a:xfrm>
            <a:off x="6154838" y="1788379"/>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56" name="Graphic 20">
            <a:extLst>
              <a:ext uri="{FF2B5EF4-FFF2-40B4-BE49-F238E27FC236}">
                <a16:creationId xmlns:a16="http://schemas.microsoft.com/office/drawing/2014/main" id="{12427822-5DEF-473C-97E6-FC50BDCBC518}"/>
              </a:ext>
            </a:extLst>
          </p:cNvPr>
          <p:cNvSpPr/>
          <p:nvPr/>
        </p:nvSpPr>
        <p:spPr>
          <a:xfrm>
            <a:off x="6154838" y="3657123"/>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43" name="Graphic 20">
            <a:extLst>
              <a:ext uri="{FF2B5EF4-FFF2-40B4-BE49-F238E27FC236}">
                <a16:creationId xmlns:a16="http://schemas.microsoft.com/office/drawing/2014/main" id="{C34844F4-2C28-4B8A-BAD3-BC308775302D}"/>
              </a:ext>
            </a:extLst>
          </p:cNvPr>
          <p:cNvSpPr/>
          <p:nvPr/>
        </p:nvSpPr>
        <p:spPr>
          <a:xfrm>
            <a:off x="6154838" y="5499002"/>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grpSp>
        <p:nvGrpSpPr>
          <p:cNvPr id="71" name="Group 70">
            <a:extLst>
              <a:ext uri="{FF2B5EF4-FFF2-40B4-BE49-F238E27FC236}">
                <a16:creationId xmlns:a16="http://schemas.microsoft.com/office/drawing/2014/main" id="{F8118E71-52D0-47AE-8D3D-73C272FDB95D}"/>
              </a:ext>
            </a:extLst>
          </p:cNvPr>
          <p:cNvGrpSpPr/>
          <p:nvPr/>
        </p:nvGrpSpPr>
        <p:grpSpPr>
          <a:xfrm>
            <a:off x="5237483" y="1588746"/>
            <a:ext cx="579519" cy="4846337"/>
            <a:chOff x="5097422" y="1588746"/>
            <a:chExt cx="579519" cy="4846337"/>
          </a:xfrm>
        </p:grpSpPr>
        <p:sp>
          <p:nvSpPr>
            <p:cNvPr id="40" name="Graphic 38">
              <a:extLst>
                <a:ext uri="{FF2B5EF4-FFF2-40B4-BE49-F238E27FC236}">
                  <a16:creationId xmlns:a16="http://schemas.microsoft.com/office/drawing/2014/main" id="{9379E0AB-1267-484C-B507-020D124EB033}"/>
                </a:ext>
              </a:extLst>
            </p:cNvPr>
            <p:cNvSpPr/>
            <p:nvPr/>
          </p:nvSpPr>
          <p:spPr>
            <a:xfrm rot="16200000">
              <a:off x="2807248" y="3878920"/>
              <a:ext cx="4846337" cy="265989"/>
            </a:xfrm>
            <a:custGeom>
              <a:avLst/>
              <a:gdLst>
                <a:gd name="connsiteX0" fmla="*/ 6475 w 8264071"/>
                <a:gd name="connsiteY0" fmla="*/ 6475 h 453571"/>
                <a:gd name="connsiteX1" fmla="*/ 6475 w 8264071"/>
                <a:gd name="connsiteY1" fmla="*/ 179331 h 453571"/>
                <a:gd name="connsiteX2" fmla="*/ 278618 w 8264071"/>
                <a:gd name="connsiteY2" fmla="*/ 451474 h 453571"/>
                <a:gd name="connsiteX3" fmla="*/ 7989332 w 8264071"/>
                <a:gd name="connsiteY3" fmla="*/ 451474 h 453571"/>
                <a:gd name="connsiteX4" fmla="*/ 8261475 w 8264071"/>
                <a:gd name="connsiteY4" fmla="*/ 179331 h 453571"/>
                <a:gd name="connsiteX5" fmla="*/ 8261475 w 8264071"/>
                <a:gd name="connsiteY5" fmla="*/ 6475 h 45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4071" h="453571">
                  <a:moveTo>
                    <a:pt x="6475" y="6475"/>
                  </a:moveTo>
                  <a:lnTo>
                    <a:pt x="6475" y="179331"/>
                  </a:lnTo>
                  <a:cubicBezTo>
                    <a:pt x="6475" y="329631"/>
                    <a:pt x="128317" y="451474"/>
                    <a:pt x="278618" y="451474"/>
                  </a:cubicBezTo>
                  <a:lnTo>
                    <a:pt x="7989332" y="451474"/>
                  </a:lnTo>
                  <a:cubicBezTo>
                    <a:pt x="8139633" y="451474"/>
                    <a:pt x="8261475" y="329631"/>
                    <a:pt x="8261475" y="179331"/>
                  </a:cubicBezTo>
                  <a:lnTo>
                    <a:pt x="8261475" y="6475"/>
                  </a:lnTo>
                </a:path>
              </a:pathLst>
            </a:custGeom>
            <a:noFill/>
            <a:ln w="28575" cap="flat">
              <a:solidFill>
                <a:schemeClr val="accent2"/>
              </a:solidFill>
              <a:prstDash val="solid"/>
              <a:miter/>
            </a:ln>
          </p:spPr>
          <p:txBody>
            <a:bodyPr rtlCol="0" anchor="ctr"/>
            <a:lstStyle/>
            <a:p>
              <a:endParaRPr lang="uk-UA"/>
            </a:p>
          </p:txBody>
        </p:sp>
        <p:sp>
          <p:nvSpPr>
            <p:cNvPr id="42" name="Graphic 40">
              <a:extLst>
                <a:ext uri="{FF2B5EF4-FFF2-40B4-BE49-F238E27FC236}">
                  <a16:creationId xmlns:a16="http://schemas.microsoft.com/office/drawing/2014/main" id="{29C3C64A-D59C-4EBF-ADDE-8ED3EB1BF165}"/>
                </a:ext>
              </a:extLst>
            </p:cNvPr>
            <p:cNvSpPr/>
            <p:nvPr/>
          </p:nvSpPr>
          <p:spPr>
            <a:xfrm rot="16200000">
              <a:off x="5214979" y="3721532"/>
              <a:ext cx="609600" cy="314325"/>
            </a:xfrm>
            <a:custGeom>
              <a:avLst/>
              <a:gdLst>
                <a:gd name="connsiteX0" fmla="*/ 7144 w 609600"/>
                <a:gd name="connsiteY0" fmla="*/ 7144 h 314325"/>
                <a:gd name="connsiteX1" fmla="*/ 610838 w 609600"/>
                <a:gd name="connsiteY1" fmla="*/ 7144 h 314325"/>
                <a:gd name="connsiteX2" fmla="*/ 308991 w 609600"/>
                <a:gd name="connsiteY2" fmla="*/ 308991 h 314325"/>
                <a:gd name="connsiteX3" fmla="*/ 7144 w 609600"/>
                <a:gd name="connsiteY3" fmla="*/ 7144 h 314325"/>
              </a:gdLst>
              <a:ahLst/>
              <a:cxnLst>
                <a:cxn ang="0">
                  <a:pos x="connsiteX0" y="connsiteY0"/>
                </a:cxn>
                <a:cxn ang="0">
                  <a:pos x="connsiteX1" y="connsiteY1"/>
                </a:cxn>
                <a:cxn ang="0">
                  <a:pos x="connsiteX2" y="connsiteY2"/>
                </a:cxn>
                <a:cxn ang="0">
                  <a:pos x="connsiteX3" y="connsiteY3"/>
                </a:cxn>
              </a:cxnLst>
              <a:rect l="l" t="t" r="r" b="b"/>
              <a:pathLst>
                <a:path w="609600" h="314325">
                  <a:moveTo>
                    <a:pt x="7144" y="7144"/>
                  </a:moveTo>
                  <a:lnTo>
                    <a:pt x="610838" y="7144"/>
                  </a:lnTo>
                  <a:lnTo>
                    <a:pt x="308991" y="308991"/>
                  </a:lnTo>
                  <a:lnTo>
                    <a:pt x="7144" y="7144"/>
                  </a:lnTo>
                  <a:close/>
                </a:path>
              </a:pathLst>
            </a:custGeom>
            <a:solidFill>
              <a:schemeClr val="accent2"/>
            </a:solidFill>
            <a:ln w="9525" cap="flat">
              <a:noFill/>
              <a:prstDash val="solid"/>
              <a:miter/>
            </a:ln>
          </p:spPr>
          <p:txBody>
            <a:bodyPr rtlCol="0" anchor="ctr"/>
            <a:lstStyle/>
            <a:p>
              <a:endParaRPr lang="uk-UA"/>
            </a:p>
          </p:txBody>
        </p:sp>
      </p:grpSp>
      <p:sp>
        <p:nvSpPr>
          <p:cNvPr id="41" name="Slide Number Placeholder 8">
            <a:extLst>
              <a:ext uri="{FF2B5EF4-FFF2-40B4-BE49-F238E27FC236}">
                <a16:creationId xmlns:a16="http://schemas.microsoft.com/office/drawing/2014/main" id="{B1CD9344-D742-4922-B41F-A255D8DE4D1C}"/>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1</a:t>
            </a:fld>
            <a:endParaRPr lang="uk-UA" sz="900" dirty="0">
              <a:latin typeface="+mn-lt"/>
            </a:endParaRPr>
          </a:p>
        </p:txBody>
      </p:sp>
      <p:sp>
        <p:nvSpPr>
          <p:cNvPr id="44" name="Google Shape;6898;p57">
            <a:extLst>
              <a:ext uri="{FF2B5EF4-FFF2-40B4-BE49-F238E27FC236}">
                <a16:creationId xmlns:a16="http://schemas.microsoft.com/office/drawing/2014/main" id="{F4CD67DB-34B3-4855-9A85-42078B3782D3}"/>
              </a:ext>
            </a:extLst>
          </p:cNvPr>
          <p:cNvSpPr/>
          <p:nvPr/>
        </p:nvSpPr>
        <p:spPr>
          <a:xfrm>
            <a:off x="215252" y="1339362"/>
            <a:ext cx="729029" cy="527538"/>
          </a:xfrm>
          <a:custGeom>
            <a:avLst/>
            <a:gdLst/>
            <a:ahLst/>
            <a:cxnLst/>
            <a:rect l="l" t="t" r="r" b="b"/>
            <a:pathLst>
              <a:path w="12572" h="12660" extrusionOk="0">
                <a:moveTo>
                  <a:pt x="2773" y="840"/>
                </a:moveTo>
                <a:cubicBezTo>
                  <a:pt x="3025" y="840"/>
                  <a:pt x="3183" y="1061"/>
                  <a:pt x="3183" y="1250"/>
                </a:cubicBezTo>
                <a:lnTo>
                  <a:pt x="3183" y="2888"/>
                </a:lnTo>
                <a:cubicBezTo>
                  <a:pt x="3183" y="3140"/>
                  <a:pt x="2962" y="3298"/>
                  <a:pt x="2773" y="3298"/>
                </a:cubicBezTo>
                <a:cubicBezTo>
                  <a:pt x="2553" y="3298"/>
                  <a:pt x="2395" y="3109"/>
                  <a:pt x="2332" y="2888"/>
                </a:cubicBezTo>
                <a:lnTo>
                  <a:pt x="2332" y="1250"/>
                </a:lnTo>
                <a:cubicBezTo>
                  <a:pt x="2332" y="998"/>
                  <a:pt x="2553" y="840"/>
                  <a:pt x="2773" y="840"/>
                </a:cubicBezTo>
                <a:close/>
                <a:moveTo>
                  <a:pt x="9673" y="840"/>
                </a:moveTo>
                <a:cubicBezTo>
                  <a:pt x="9925" y="840"/>
                  <a:pt x="10082" y="1061"/>
                  <a:pt x="10082" y="1250"/>
                </a:cubicBezTo>
                <a:lnTo>
                  <a:pt x="10082" y="2888"/>
                </a:lnTo>
                <a:cubicBezTo>
                  <a:pt x="10082" y="3140"/>
                  <a:pt x="9862" y="3298"/>
                  <a:pt x="9673" y="3298"/>
                </a:cubicBezTo>
                <a:cubicBezTo>
                  <a:pt x="9452" y="3298"/>
                  <a:pt x="9295" y="3109"/>
                  <a:pt x="9232" y="2888"/>
                </a:cubicBezTo>
                <a:lnTo>
                  <a:pt x="9232" y="1250"/>
                </a:lnTo>
                <a:cubicBezTo>
                  <a:pt x="9232" y="998"/>
                  <a:pt x="9452" y="840"/>
                  <a:pt x="9673" y="840"/>
                </a:cubicBezTo>
                <a:close/>
                <a:moveTo>
                  <a:pt x="11374" y="2479"/>
                </a:moveTo>
                <a:cubicBezTo>
                  <a:pt x="11469" y="2479"/>
                  <a:pt x="11595" y="2542"/>
                  <a:pt x="11689" y="2668"/>
                </a:cubicBezTo>
                <a:cubicBezTo>
                  <a:pt x="11752" y="2794"/>
                  <a:pt x="11721" y="2857"/>
                  <a:pt x="11721" y="2983"/>
                </a:cubicBezTo>
                <a:lnTo>
                  <a:pt x="11721" y="4936"/>
                </a:lnTo>
                <a:lnTo>
                  <a:pt x="694" y="4936"/>
                </a:lnTo>
                <a:lnTo>
                  <a:pt x="694" y="2983"/>
                </a:lnTo>
                <a:cubicBezTo>
                  <a:pt x="694" y="2857"/>
                  <a:pt x="694" y="2794"/>
                  <a:pt x="725" y="2668"/>
                </a:cubicBezTo>
                <a:cubicBezTo>
                  <a:pt x="820" y="2542"/>
                  <a:pt x="946" y="2479"/>
                  <a:pt x="1040" y="2479"/>
                </a:cubicBezTo>
                <a:lnTo>
                  <a:pt x="1513" y="2479"/>
                </a:lnTo>
                <a:lnTo>
                  <a:pt x="1513" y="2888"/>
                </a:lnTo>
                <a:cubicBezTo>
                  <a:pt x="1513" y="3614"/>
                  <a:pt x="2132" y="4133"/>
                  <a:pt x="2803" y="4133"/>
                </a:cubicBezTo>
                <a:cubicBezTo>
                  <a:pt x="2919" y="4133"/>
                  <a:pt x="3036" y="4118"/>
                  <a:pt x="3151" y="4085"/>
                </a:cubicBezTo>
                <a:cubicBezTo>
                  <a:pt x="3655" y="3928"/>
                  <a:pt x="4002" y="3455"/>
                  <a:pt x="4002" y="2888"/>
                </a:cubicBezTo>
                <a:lnTo>
                  <a:pt x="4002" y="2479"/>
                </a:lnTo>
                <a:lnTo>
                  <a:pt x="8413" y="2479"/>
                </a:lnTo>
                <a:lnTo>
                  <a:pt x="8413" y="2888"/>
                </a:lnTo>
                <a:cubicBezTo>
                  <a:pt x="8413" y="3455"/>
                  <a:pt x="8759" y="3928"/>
                  <a:pt x="9263" y="4085"/>
                </a:cubicBezTo>
                <a:cubicBezTo>
                  <a:pt x="9379" y="4118"/>
                  <a:pt x="9496" y="4133"/>
                  <a:pt x="9612" y="4133"/>
                </a:cubicBezTo>
                <a:cubicBezTo>
                  <a:pt x="10282" y="4133"/>
                  <a:pt x="10902" y="3614"/>
                  <a:pt x="10902" y="2888"/>
                </a:cubicBezTo>
                <a:lnTo>
                  <a:pt x="10902" y="2479"/>
                </a:lnTo>
                <a:close/>
                <a:moveTo>
                  <a:pt x="11721" y="5787"/>
                </a:moveTo>
                <a:lnTo>
                  <a:pt x="11721" y="11457"/>
                </a:lnTo>
                <a:cubicBezTo>
                  <a:pt x="11721" y="11678"/>
                  <a:pt x="11532" y="11835"/>
                  <a:pt x="11280" y="11867"/>
                </a:cubicBezTo>
                <a:lnTo>
                  <a:pt x="1072" y="11867"/>
                </a:lnTo>
                <a:cubicBezTo>
                  <a:pt x="851" y="11867"/>
                  <a:pt x="694" y="11678"/>
                  <a:pt x="694" y="11457"/>
                </a:cubicBezTo>
                <a:lnTo>
                  <a:pt x="694" y="5787"/>
                </a:lnTo>
                <a:close/>
                <a:moveTo>
                  <a:pt x="2825" y="1"/>
                </a:moveTo>
                <a:cubicBezTo>
                  <a:pt x="2180" y="1"/>
                  <a:pt x="1608" y="526"/>
                  <a:pt x="1608" y="1250"/>
                </a:cubicBezTo>
                <a:lnTo>
                  <a:pt x="1608" y="1691"/>
                </a:lnTo>
                <a:lnTo>
                  <a:pt x="1135" y="1691"/>
                </a:lnTo>
                <a:cubicBezTo>
                  <a:pt x="851" y="1691"/>
                  <a:pt x="568" y="1785"/>
                  <a:pt x="379" y="2006"/>
                </a:cubicBezTo>
                <a:cubicBezTo>
                  <a:pt x="158" y="2227"/>
                  <a:pt x="1" y="2542"/>
                  <a:pt x="1" y="2888"/>
                </a:cubicBezTo>
                <a:lnTo>
                  <a:pt x="1" y="11457"/>
                </a:lnTo>
                <a:cubicBezTo>
                  <a:pt x="1" y="12087"/>
                  <a:pt x="486" y="12659"/>
                  <a:pt x="1102" y="12659"/>
                </a:cubicBezTo>
                <a:cubicBezTo>
                  <a:pt x="1134" y="12659"/>
                  <a:pt x="1166" y="12658"/>
                  <a:pt x="1198" y="12655"/>
                </a:cubicBezTo>
                <a:lnTo>
                  <a:pt x="11311" y="12655"/>
                </a:lnTo>
                <a:cubicBezTo>
                  <a:pt x="12004" y="12655"/>
                  <a:pt x="12571" y="12119"/>
                  <a:pt x="12571" y="11457"/>
                </a:cubicBezTo>
                <a:lnTo>
                  <a:pt x="12571" y="2888"/>
                </a:lnTo>
                <a:cubicBezTo>
                  <a:pt x="12571" y="2542"/>
                  <a:pt x="12414" y="2227"/>
                  <a:pt x="12193" y="2006"/>
                </a:cubicBezTo>
                <a:cubicBezTo>
                  <a:pt x="12004" y="1785"/>
                  <a:pt x="11721" y="1691"/>
                  <a:pt x="11437" y="1691"/>
                </a:cubicBezTo>
                <a:lnTo>
                  <a:pt x="10965" y="1691"/>
                </a:lnTo>
                <a:lnTo>
                  <a:pt x="10965" y="1250"/>
                </a:lnTo>
                <a:cubicBezTo>
                  <a:pt x="10965" y="526"/>
                  <a:pt x="10392" y="1"/>
                  <a:pt x="9747" y="1"/>
                </a:cubicBezTo>
                <a:cubicBezTo>
                  <a:pt x="9577" y="1"/>
                  <a:pt x="9402" y="37"/>
                  <a:pt x="9232" y="116"/>
                </a:cubicBezTo>
                <a:cubicBezTo>
                  <a:pt x="8759" y="305"/>
                  <a:pt x="8507" y="746"/>
                  <a:pt x="8507" y="1250"/>
                </a:cubicBezTo>
                <a:lnTo>
                  <a:pt x="8507" y="1691"/>
                </a:lnTo>
                <a:lnTo>
                  <a:pt x="4096" y="1691"/>
                </a:lnTo>
                <a:lnTo>
                  <a:pt x="4096" y="1250"/>
                </a:lnTo>
                <a:cubicBezTo>
                  <a:pt x="4096" y="746"/>
                  <a:pt x="3781" y="305"/>
                  <a:pt x="3340" y="116"/>
                </a:cubicBezTo>
                <a:cubicBezTo>
                  <a:pt x="3170" y="37"/>
                  <a:pt x="2995" y="1"/>
                  <a:pt x="2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7" name="Text Placeholder 28">
            <a:extLst>
              <a:ext uri="{FF2B5EF4-FFF2-40B4-BE49-F238E27FC236}">
                <a16:creationId xmlns:a16="http://schemas.microsoft.com/office/drawing/2014/main" id="{2FD1C625-5931-4D63-BA70-660E6E757BA9}"/>
              </a:ext>
            </a:extLst>
          </p:cNvPr>
          <p:cNvSpPr>
            <a:spLocks noGrp="1"/>
          </p:cNvSpPr>
          <p:nvPr>
            <p:ph type="body" sz="quarter" idx="19"/>
          </p:nvPr>
        </p:nvSpPr>
        <p:spPr>
          <a:xfrm>
            <a:off x="1081279" y="1109256"/>
            <a:ext cx="3322956" cy="1021413"/>
          </a:xfrm>
        </p:spPr>
        <p:txBody>
          <a:bodyPr/>
          <a:lstStyle/>
          <a:p>
            <a:r>
              <a:rPr lang="uk-UA" dirty="0" smtClean="0"/>
              <a:t>Нефінансове звітування – </a:t>
            </a:r>
            <a:r>
              <a:rPr lang="uk-UA" dirty="0" smtClean="0">
                <a:solidFill>
                  <a:srgbClr val="0091D7"/>
                </a:solidFill>
              </a:rPr>
              <a:t>Звіт про управління</a:t>
            </a:r>
            <a:endParaRPr lang="uk-UA" dirty="0">
              <a:solidFill>
                <a:srgbClr val="0091D7"/>
              </a:solidFill>
            </a:endParaRPr>
          </a:p>
        </p:txBody>
      </p:sp>
    </p:spTree>
    <p:extLst>
      <p:ext uri="{BB962C8B-B14F-4D97-AF65-F5344CB8AC3E}">
        <p14:creationId xmlns:p14="http://schemas.microsoft.com/office/powerpoint/2010/main" val="1104070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9352"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3D34545-74AF-4340-8844-095E97A662EB}"/>
              </a:ext>
            </a:extLst>
          </p:cNvPr>
          <p:cNvSpPr>
            <a:spLocks noGrp="1"/>
          </p:cNvSpPr>
          <p:nvPr>
            <p:ph type="body" sz="quarter" idx="11"/>
          </p:nvPr>
        </p:nvSpPr>
        <p:spPr>
          <a:xfrm>
            <a:off x="5503984" y="1433146"/>
            <a:ext cx="6131756" cy="4853354"/>
          </a:xfrm>
        </p:spPr>
        <p:txBody>
          <a:bodyPr/>
          <a:lstStyle/>
          <a:p>
            <a:pPr lvl="0" algn="just"/>
            <a:r>
              <a:rPr lang="uk-UA" dirty="0"/>
              <a:t>Директива 2006/43/ЄС Європейського Парламенту та Ради від 17 травня 2006 року про обов'язковий аудит річної звітності та консолідованої звітності, що вносить зміни до Директив Ради 78/660/ЄЕС та 83/349/ЄЕС і припиняє дію Директиви Ради 84/253/ЄС;</a:t>
            </a:r>
          </a:p>
          <a:p>
            <a:pPr lvl="0"/>
            <a:endParaRPr lang="uk-UA" dirty="0"/>
          </a:p>
          <a:p>
            <a:pPr lvl="0" algn="just"/>
            <a:r>
              <a:rPr lang="uk-UA" dirty="0"/>
              <a:t>Регламент (ЄС) 537/2014 Європейського Парламенту та Ради від 16 квітня 2014 року про конкретні вимоги стосовно обов’язкового аудиту суспільно значимих суб’єктів господарювання та який припиняє дію Рішення Комісії 205/909/ЄС;</a:t>
            </a:r>
          </a:p>
          <a:p>
            <a:pPr lvl="0"/>
            <a:endParaRPr lang="uk-UA" dirty="0"/>
          </a:p>
          <a:p>
            <a:pPr lvl="0"/>
            <a:endParaRPr lang="uk-UA" sz="300" dirty="0"/>
          </a:p>
          <a:p>
            <a:pPr lvl="0" algn="just"/>
            <a:r>
              <a:rPr lang="uk-UA" dirty="0"/>
              <a:t>Закон України «Про аудит фінансової звітності та аудиторську </a:t>
            </a:r>
            <a:r>
              <a:rPr lang="uk-UA" dirty="0" smtClean="0"/>
              <a:t>діяльність від </a:t>
            </a:r>
            <a:r>
              <a:rPr lang="ru-RU" dirty="0" smtClean="0"/>
              <a:t>21 </a:t>
            </a:r>
            <a:r>
              <a:rPr lang="ru-RU" dirty="0"/>
              <a:t>грудня 2017 </a:t>
            </a:r>
            <a:r>
              <a:rPr lang="ru-RU" dirty="0" smtClean="0"/>
              <a:t>року № </a:t>
            </a:r>
            <a:r>
              <a:rPr lang="ru-RU" dirty="0"/>
              <a:t>2258-VIII</a:t>
            </a:r>
          </a:p>
          <a:p>
            <a:pPr lvl="0"/>
            <a:endParaRPr lang="ru-RU" dirty="0"/>
          </a:p>
          <a:p>
            <a:pPr lvl="0"/>
            <a:endParaRPr lang="uk-UA" dirty="0"/>
          </a:p>
          <a:p>
            <a:pPr lvl="0"/>
            <a:endParaRPr lang="uk-UA" sz="300" dirty="0"/>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b="1" dirty="0" smtClean="0"/>
              <a:t>Реформування у сфері аудиту</a:t>
            </a:r>
            <a:endParaRPr lang="uk-UA" dirty="0"/>
          </a:p>
        </p:txBody>
      </p:sp>
      <p:sp>
        <p:nvSpPr>
          <p:cNvPr id="9" name="Slide Number Placeholder 8">
            <a:extLst>
              <a:ext uri="{FF2B5EF4-FFF2-40B4-BE49-F238E27FC236}">
                <a16:creationId xmlns:a16="http://schemas.microsoft.com/office/drawing/2014/main" id="{C8BE0309-396B-4016-8AFD-7F8A65A02044}"/>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2</a:t>
            </a:fld>
            <a:endParaRPr lang="uk-UA" sz="900" dirty="0">
              <a:latin typeface="+mn-lt"/>
            </a:endParaRPr>
          </a:p>
        </p:txBody>
      </p:sp>
      <p:pic>
        <p:nvPicPr>
          <p:cNvPr id="25" name="Місце для зображення 24"/>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l="31270" r="31270"/>
          <a:stretch>
            <a:fillRect/>
          </a:stretch>
        </p:blipFill>
        <p:spPr/>
      </p:pic>
    </p:spTree>
    <p:extLst>
      <p:ext uri="{BB962C8B-B14F-4D97-AF65-F5344CB8AC3E}">
        <p14:creationId xmlns:p14="http://schemas.microsoft.com/office/powerpoint/2010/main" val="4234923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A4CCFB9-810C-42B9-872D-7621C720B8FE}"/>
              </a:ext>
            </a:extLst>
          </p:cNvPr>
          <p:cNvSpPr>
            <a:spLocks noGrp="1"/>
          </p:cNvSpPr>
          <p:nvPr>
            <p:ph type="title"/>
          </p:nvPr>
        </p:nvSpPr>
        <p:spPr>
          <a:xfrm>
            <a:off x="609601" y="569781"/>
            <a:ext cx="9330054" cy="598861"/>
          </a:xfrm>
        </p:spPr>
        <p:txBody>
          <a:bodyPr/>
          <a:lstStyle/>
          <a:p>
            <a:r>
              <a:rPr lang="uk-UA" b="1" dirty="0"/>
              <a:t>Реформування у сфері аудиту</a:t>
            </a:r>
            <a:r>
              <a:rPr lang="ru-RU" b="1" dirty="0"/>
              <a:t/>
            </a:r>
            <a:br>
              <a:rPr lang="ru-RU" b="1" dirty="0"/>
            </a:br>
            <a:endParaRPr lang="uk-UA" b="1" dirty="0"/>
          </a:p>
        </p:txBody>
      </p:sp>
      <p:sp>
        <p:nvSpPr>
          <p:cNvPr id="48" name="Slide Number Placeholder 8">
            <a:extLst>
              <a:ext uri="{FF2B5EF4-FFF2-40B4-BE49-F238E27FC236}">
                <a16:creationId xmlns:a16="http://schemas.microsoft.com/office/drawing/2014/main" id="{4B3F7EC6-688B-4415-A0FC-E41EB75CDFFB}"/>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3</a:t>
            </a:fld>
            <a:endParaRPr lang="uk-UA" sz="900" dirty="0">
              <a:latin typeface="+mn-lt"/>
            </a:endParaRPr>
          </a:p>
        </p:txBody>
      </p:sp>
      <p:grpSp>
        <p:nvGrpSpPr>
          <p:cNvPr id="17" name="Групувати 16"/>
          <p:cNvGrpSpPr/>
          <p:nvPr/>
        </p:nvGrpSpPr>
        <p:grpSpPr>
          <a:xfrm>
            <a:off x="1354015" y="1274885"/>
            <a:ext cx="9328639" cy="4958861"/>
            <a:chOff x="0" y="0"/>
            <a:chExt cx="9876123" cy="5263115"/>
          </a:xfrm>
        </p:grpSpPr>
        <p:sp>
          <p:nvSpPr>
            <p:cNvPr id="18" name="Rectangle 11"/>
            <p:cNvSpPr>
              <a:spLocks noChangeArrowheads="1"/>
            </p:cNvSpPr>
            <p:nvPr/>
          </p:nvSpPr>
          <p:spPr bwMode="auto">
            <a:xfrm>
              <a:off x="77279" y="22225"/>
              <a:ext cx="7328305" cy="1660525"/>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63500" sx="102000" sy="102000" algn="ctr" rotWithShape="0">
                <a:prstClr val="black">
                  <a:alpha val="40000"/>
                </a:prstClr>
              </a:outerShdw>
            </a:effectLst>
          </p:spPr>
          <p:txBody>
            <a:bodyPr anchor="ctr"/>
            <a:lstStyle/>
            <a:p>
              <a:endParaRPr lang="uk-UA"/>
            </a:p>
          </p:txBody>
        </p:sp>
        <p:sp>
          <p:nvSpPr>
            <p:cNvPr id="19" name="Freeform 17"/>
            <p:cNvSpPr>
              <a:spLocks/>
            </p:cNvSpPr>
            <p:nvPr/>
          </p:nvSpPr>
          <p:spPr bwMode="auto">
            <a:xfrm>
              <a:off x="500598" y="670716"/>
              <a:ext cx="3037569" cy="961233"/>
            </a:xfrm>
            <a:custGeom>
              <a:avLst/>
              <a:gdLst>
                <a:gd name="T0" fmla="*/ 0 w 1953758"/>
                <a:gd name="T1" fmla="*/ 211219 h 1269943"/>
                <a:gd name="T2" fmla="*/ 729066 w 1953758"/>
                <a:gd name="T3" fmla="*/ 0 h 1269943"/>
                <a:gd name="T4" fmla="*/ 6000658 w 1953758"/>
                <a:gd name="T5" fmla="*/ 0 h 1269943"/>
                <a:gd name="T6" fmla="*/ 6729726 w 1953758"/>
                <a:gd name="T7" fmla="*/ 211219 h 1269943"/>
                <a:gd name="T8" fmla="*/ 6729726 w 1953758"/>
                <a:gd name="T9" fmla="*/ 1056071 h 1269943"/>
                <a:gd name="T10" fmla="*/ 6000658 w 1953758"/>
                <a:gd name="T11" fmla="*/ 1267290 h 1269943"/>
                <a:gd name="T12" fmla="*/ 729066 w 1953758"/>
                <a:gd name="T13" fmla="*/ 1267290 h 1269943"/>
                <a:gd name="T14" fmla="*/ 0 w 1953758"/>
                <a:gd name="T15" fmla="*/ 1056071 h 1269943"/>
                <a:gd name="T16" fmla="*/ 0 w 1953758"/>
                <a:gd name="T17" fmla="*/ 211219 h 12699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53758"/>
                <a:gd name="T28" fmla="*/ 0 h 1269943"/>
                <a:gd name="T29" fmla="*/ 1953758 w 1953758"/>
                <a:gd name="T30" fmla="*/ 1269943 h 12699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rgbClr val="9BBB59"/>
            </a:solidFill>
            <a:ln w="38100">
              <a:solidFill>
                <a:srgbClr val="FFFFFF"/>
              </a:solidFill>
              <a:miter lim="800000"/>
              <a:headEnd/>
              <a:tailEnd/>
            </a:ln>
            <a:effectLst>
              <a:outerShdw blurRad="40000" dist="20000" dir="5400000" rotWithShape="0">
                <a:srgbClr val="808080">
                  <a:alpha val="37999"/>
                </a:srgbClr>
              </a:outerShdw>
            </a:effectLst>
          </p:spPr>
          <p:txBody>
            <a:bodyPr lIns="130574" tIns="130574" rIns="130574" bIns="130574" anchor="ctr"/>
            <a:lstStyle/>
            <a:p>
              <a:pPr algn="ctr">
                <a:lnSpc>
                  <a:spcPct val="90000"/>
                </a:lnSpc>
                <a:spcAft>
                  <a:spcPts val="755"/>
                </a:spcAft>
              </a:pPr>
              <a:r>
                <a:rPr lang="uk-UA" sz="1100" kern="1200">
                  <a:solidFill>
                    <a:srgbClr val="FFFFFF"/>
                  </a:solidFill>
                  <a:effectLst/>
                  <a:latin typeface="Arial" panose="020B0604020202020204" pitchFamily="34" charset="0"/>
                  <a:ea typeface="Times New Roman" panose="02020603050405020304" pitchFamily="18" charset="0"/>
                </a:rPr>
                <a:t>Рада нагляду за аудиторською діяльністю</a:t>
              </a:r>
              <a:endParaRPr lang="uk-UA" sz="1200">
                <a:effectLst/>
                <a:latin typeface="Times New Roman" panose="02020603050405020304" pitchFamily="18" charset="0"/>
                <a:ea typeface="Times New Roman" panose="02020603050405020304" pitchFamily="18" charset="0"/>
              </a:endParaRPr>
            </a:p>
          </p:txBody>
        </p:sp>
        <p:sp>
          <p:nvSpPr>
            <p:cNvPr id="20" name="Freeform 18"/>
            <p:cNvSpPr>
              <a:spLocks/>
            </p:cNvSpPr>
            <p:nvPr/>
          </p:nvSpPr>
          <p:spPr bwMode="auto">
            <a:xfrm>
              <a:off x="1149841" y="2098780"/>
              <a:ext cx="1930400" cy="1270000"/>
            </a:xfrm>
            <a:custGeom>
              <a:avLst/>
              <a:gdLst>
                <a:gd name="T0" fmla="*/ 0 w 1953758"/>
                <a:gd name="T1" fmla="*/ 211747 h 1269943"/>
                <a:gd name="T2" fmla="*/ 153941 w 1953758"/>
                <a:gd name="T3" fmla="*/ 0 h 1269943"/>
                <a:gd name="T4" fmla="*/ 1267024 w 1953758"/>
                <a:gd name="T5" fmla="*/ 0 h 1269943"/>
                <a:gd name="T6" fmla="*/ 1420966 w 1953758"/>
                <a:gd name="T7" fmla="*/ 211747 h 1269943"/>
                <a:gd name="T8" fmla="*/ 1420966 w 1953758"/>
                <a:gd name="T9" fmla="*/ 1058716 h 1269943"/>
                <a:gd name="T10" fmla="*/ 1267024 w 1953758"/>
                <a:gd name="T11" fmla="*/ 1270463 h 1269943"/>
                <a:gd name="T12" fmla="*/ 153941 w 1953758"/>
                <a:gd name="T13" fmla="*/ 1270463 h 1269943"/>
                <a:gd name="T14" fmla="*/ 0 w 1953758"/>
                <a:gd name="T15" fmla="*/ 1058716 h 1269943"/>
                <a:gd name="T16" fmla="*/ 0 w 1953758"/>
                <a:gd name="T17" fmla="*/ 211747 h 12699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53758"/>
                <a:gd name="T28" fmla="*/ 0 h 1269943"/>
                <a:gd name="T29" fmla="*/ 1953758 w 1953758"/>
                <a:gd name="T30" fmla="*/ 1269943 h 12699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rgbClr val="8064A2"/>
            </a:solidFill>
            <a:ln w="38100">
              <a:solidFill>
                <a:srgbClr val="FFFFFF"/>
              </a:solidFill>
              <a:miter lim="800000"/>
              <a:headEnd/>
              <a:tailEnd/>
            </a:ln>
            <a:effectLst>
              <a:outerShdw blurRad="40000" dist="20000" dir="5400000" rotWithShape="0">
                <a:srgbClr val="808080">
                  <a:alpha val="37999"/>
                </a:srgbClr>
              </a:outerShdw>
            </a:effectLst>
          </p:spPr>
          <p:txBody>
            <a:bodyPr lIns="130574" tIns="130574" rIns="130574" bIns="130574" anchor="ctr"/>
            <a:lstStyle/>
            <a:p>
              <a:pPr algn="ctr">
                <a:lnSpc>
                  <a:spcPct val="90000"/>
                </a:lnSpc>
                <a:spcAft>
                  <a:spcPts val="755"/>
                </a:spcAft>
              </a:pPr>
              <a:r>
                <a:rPr lang="uk-UA" sz="1200" kern="1200">
                  <a:solidFill>
                    <a:srgbClr val="FFFFFF"/>
                  </a:solidFill>
                  <a:effectLst/>
                  <a:latin typeface="Arial" panose="020B0604020202020204" pitchFamily="34" charset="0"/>
                  <a:ea typeface="Times New Roman" panose="02020603050405020304" pitchFamily="18" charset="0"/>
                </a:rPr>
                <a:t>Аудиторська палата Україні</a:t>
              </a:r>
              <a:r>
                <a:rPr lang="en-US" sz="1200" kern="1200">
                  <a:solidFill>
                    <a:srgbClr val="FFFFFF"/>
                  </a:solidFill>
                  <a:effectLst/>
                  <a:latin typeface="Arial" panose="020B0604020202020204" pitchFamily="34" charset="0"/>
                  <a:ea typeface="Times New Roman" panose="02020603050405020304" pitchFamily="18" charset="0"/>
                </a:rPr>
                <a:t> (A</a:t>
              </a:r>
              <a:r>
                <a:rPr lang="uk-UA" sz="1200" kern="1200">
                  <a:solidFill>
                    <a:srgbClr val="FFFFFF"/>
                  </a:solidFill>
                  <a:effectLst/>
                  <a:latin typeface="Arial" panose="020B0604020202020204" pitchFamily="34" charset="0"/>
                  <a:ea typeface="Times New Roman" panose="02020603050405020304" pitchFamily="18" charset="0"/>
                </a:rPr>
                <a:t>ПУ</a:t>
              </a:r>
              <a:r>
                <a:rPr lang="en-US" sz="1200" kern="1200">
                  <a:solidFill>
                    <a:srgbClr val="FFFFFF"/>
                  </a:solidFill>
                  <a:effectLst/>
                  <a:latin typeface="Arial" panose="020B0604020202020204" pitchFamily="34" charset="0"/>
                  <a:ea typeface="Times New Roman" panose="02020603050405020304" pitchFamily="18" charset="0"/>
                </a:rPr>
                <a:t>)</a:t>
              </a:r>
              <a:endParaRPr lang="uk-UA" sz="1200">
                <a:effectLst/>
                <a:latin typeface="Times New Roman" panose="02020603050405020304" pitchFamily="18" charset="0"/>
                <a:ea typeface="Times New Roman" panose="02020603050405020304" pitchFamily="18" charset="0"/>
              </a:endParaRPr>
            </a:p>
          </p:txBody>
        </p:sp>
        <p:sp>
          <p:nvSpPr>
            <p:cNvPr id="21" name="Freeform 19"/>
            <p:cNvSpPr>
              <a:spLocks/>
            </p:cNvSpPr>
            <p:nvPr/>
          </p:nvSpPr>
          <p:spPr bwMode="auto">
            <a:xfrm>
              <a:off x="5183972" y="4003676"/>
              <a:ext cx="2112962" cy="1214437"/>
            </a:xfrm>
            <a:custGeom>
              <a:avLst/>
              <a:gdLst>
                <a:gd name="T0" fmla="*/ 0 w 1953758"/>
                <a:gd name="T1" fmla="*/ 185798 h 1269943"/>
                <a:gd name="T2" fmla="*/ 267836 w 1953758"/>
                <a:gd name="T3" fmla="*/ 0 h 1269943"/>
                <a:gd name="T4" fmla="*/ 2204450 w 1953758"/>
                <a:gd name="T5" fmla="*/ 0 h 1269943"/>
                <a:gd name="T6" fmla="*/ 2472287 w 1953758"/>
                <a:gd name="T7" fmla="*/ 185798 h 1269943"/>
                <a:gd name="T8" fmla="*/ 2472287 w 1953758"/>
                <a:gd name="T9" fmla="*/ 928968 h 1269943"/>
                <a:gd name="T10" fmla="*/ 2204450 w 1953758"/>
                <a:gd name="T11" fmla="*/ 1114766 h 1269943"/>
                <a:gd name="T12" fmla="*/ 267836 w 1953758"/>
                <a:gd name="T13" fmla="*/ 1114766 h 1269943"/>
                <a:gd name="T14" fmla="*/ 0 w 1953758"/>
                <a:gd name="T15" fmla="*/ 928968 h 1269943"/>
                <a:gd name="T16" fmla="*/ 0 w 1953758"/>
                <a:gd name="T17" fmla="*/ 185798 h 12699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53758"/>
                <a:gd name="T28" fmla="*/ 0 h 1269943"/>
                <a:gd name="T29" fmla="*/ 1953758 w 1953758"/>
                <a:gd name="T30" fmla="*/ 1269943 h 12699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rgbClr val="4BACC6"/>
            </a:solidFill>
            <a:ln w="38100">
              <a:solidFill>
                <a:srgbClr val="FFFFFF"/>
              </a:solidFill>
              <a:miter lim="800000"/>
              <a:headEnd/>
              <a:tailEnd/>
            </a:ln>
            <a:effectLst>
              <a:outerShdw blurRad="63500" sx="102000" sy="102000" algn="ctr" rotWithShape="0">
                <a:prstClr val="black">
                  <a:alpha val="40000"/>
                </a:prstClr>
              </a:outerShdw>
            </a:effectLst>
          </p:spPr>
          <p:txBody>
            <a:bodyPr lIns="130574" tIns="130574" rIns="130574" bIns="130574" anchor="ctr"/>
            <a:lstStyle/>
            <a:p>
              <a:pPr algn="ctr">
                <a:lnSpc>
                  <a:spcPct val="90000"/>
                </a:lnSpc>
                <a:spcAft>
                  <a:spcPts val="755"/>
                </a:spcAft>
              </a:pPr>
              <a:r>
                <a:rPr lang="uk-UA" sz="1200" kern="1200">
                  <a:solidFill>
                    <a:srgbClr val="FFFFFF"/>
                  </a:solidFill>
                  <a:effectLst/>
                  <a:latin typeface="Arial" panose="020B0604020202020204" pitchFamily="34" charset="0"/>
                  <a:ea typeface="Times New Roman" panose="02020603050405020304" pitchFamily="18" charset="0"/>
                </a:rPr>
                <a:t>Аудитори суб’єктів суспільного інтересу (ССІ)</a:t>
              </a:r>
              <a:endParaRPr lang="uk-UA" sz="1200">
                <a:effectLst/>
                <a:latin typeface="Times New Roman" panose="02020603050405020304" pitchFamily="18" charset="0"/>
                <a:ea typeface="Times New Roman" panose="02020603050405020304" pitchFamily="18" charset="0"/>
              </a:endParaRPr>
            </a:p>
          </p:txBody>
        </p:sp>
        <p:sp>
          <p:nvSpPr>
            <p:cNvPr id="22" name="Freeform 20"/>
            <p:cNvSpPr>
              <a:spLocks/>
            </p:cNvSpPr>
            <p:nvPr/>
          </p:nvSpPr>
          <p:spPr bwMode="auto">
            <a:xfrm>
              <a:off x="3961245" y="670716"/>
              <a:ext cx="3012281" cy="967029"/>
            </a:xfrm>
            <a:custGeom>
              <a:avLst/>
              <a:gdLst>
                <a:gd name="T0" fmla="*/ 0 w 1953758"/>
                <a:gd name="T1" fmla="*/ 211219 h 1269943"/>
                <a:gd name="T2" fmla="*/ 822880 w 1953758"/>
                <a:gd name="T3" fmla="*/ 0 h 1269943"/>
                <a:gd name="T4" fmla="*/ 6772789 w 1953758"/>
                <a:gd name="T5" fmla="*/ 0 h 1269943"/>
                <a:gd name="T6" fmla="*/ 7595669 w 1953758"/>
                <a:gd name="T7" fmla="*/ 211219 h 1269943"/>
                <a:gd name="T8" fmla="*/ 7595669 w 1953758"/>
                <a:gd name="T9" fmla="*/ 1056071 h 1269943"/>
                <a:gd name="T10" fmla="*/ 6772789 w 1953758"/>
                <a:gd name="T11" fmla="*/ 1267290 h 1269943"/>
                <a:gd name="T12" fmla="*/ 822880 w 1953758"/>
                <a:gd name="T13" fmla="*/ 1267290 h 1269943"/>
                <a:gd name="T14" fmla="*/ 0 w 1953758"/>
                <a:gd name="T15" fmla="*/ 1056071 h 1269943"/>
                <a:gd name="T16" fmla="*/ 0 w 1953758"/>
                <a:gd name="T17" fmla="*/ 211219 h 12699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53758"/>
                <a:gd name="T28" fmla="*/ 0 h 1269943"/>
                <a:gd name="T29" fmla="*/ 1953758 w 1953758"/>
                <a:gd name="T30" fmla="*/ 1269943 h 12699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rgbClr val="F79646"/>
            </a:solidFill>
            <a:ln w="38100">
              <a:solidFill>
                <a:srgbClr val="FFFFFF"/>
              </a:solidFill>
              <a:miter lim="800000"/>
              <a:headEnd/>
              <a:tailEnd/>
            </a:ln>
            <a:effectLst>
              <a:outerShdw blurRad="40000" dist="20000" dir="5400000" rotWithShape="0">
                <a:srgbClr val="808080">
                  <a:alpha val="37999"/>
                </a:srgbClr>
              </a:outerShdw>
            </a:effectLst>
          </p:spPr>
          <p:txBody>
            <a:bodyPr lIns="130574" tIns="130574" rIns="130574" bIns="130574" anchor="ctr"/>
            <a:lstStyle/>
            <a:p>
              <a:pPr algn="ctr">
                <a:lnSpc>
                  <a:spcPct val="90000"/>
                </a:lnSpc>
                <a:spcAft>
                  <a:spcPts val="755"/>
                </a:spcAft>
              </a:pPr>
              <a:r>
                <a:rPr lang="uk-UA" sz="1400" kern="1200">
                  <a:solidFill>
                    <a:srgbClr val="FFFFFF"/>
                  </a:solidFill>
                  <a:effectLst/>
                  <a:latin typeface="Arial" panose="020B0604020202020204" pitchFamily="34" charset="0"/>
                  <a:ea typeface="Times New Roman" panose="02020603050405020304" pitchFamily="18" charset="0"/>
                </a:rPr>
                <a:t> </a:t>
              </a:r>
              <a:r>
                <a:rPr lang="uk-UA" sz="1200" kern="1200">
                  <a:solidFill>
                    <a:srgbClr val="FFFFFF"/>
                  </a:solidFill>
                  <a:effectLst/>
                  <a:latin typeface="Arial" panose="020B0604020202020204" pitchFamily="34" charset="0"/>
                  <a:ea typeface="Times New Roman" panose="02020603050405020304" pitchFamily="18" charset="0"/>
                </a:rPr>
                <a:t>Інспекція із забезпечення якості</a:t>
              </a:r>
              <a:endParaRPr lang="uk-UA" sz="1200">
                <a:effectLst/>
                <a:latin typeface="Times New Roman" panose="02020603050405020304" pitchFamily="18" charset="0"/>
                <a:ea typeface="Times New Roman" panose="02020603050405020304" pitchFamily="18" charset="0"/>
              </a:endParaRPr>
            </a:p>
          </p:txBody>
        </p:sp>
        <p:sp>
          <p:nvSpPr>
            <p:cNvPr id="23" name="Freeform 21"/>
            <p:cNvSpPr>
              <a:spLocks/>
            </p:cNvSpPr>
            <p:nvPr/>
          </p:nvSpPr>
          <p:spPr bwMode="auto">
            <a:xfrm>
              <a:off x="315771" y="3948113"/>
              <a:ext cx="4723919" cy="1315002"/>
            </a:xfrm>
            <a:custGeom>
              <a:avLst/>
              <a:gdLst>
                <a:gd name="T0" fmla="*/ 0 w 1953758"/>
                <a:gd name="T1" fmla="*/ 211691 h 1269943"/>
                <a:gd name="T2" fmla="*/ 6571047 w 1953758"/>
                <a:gd name="T3" fmla="*/ 0 h 1269943"/>
                <a:gd name="T4" fmla="*/ 54083637 w 1953758"/>
                <a:gd name="T5" fmla="*/ 0 h 1269943"/>
                <a:gd name="T6" fmla="*/ 60654684 w 1953758"/>
                <a:gd name="T7" fmla="*/ 211691 h 1269943"/>
                <a:gd name="T8" fmla="*/ 60654684 w 1953758"/>
                <a:gd name="T9" fmla="*/ 1058425 h 1269943"/>
                <a:gd name="T10" fmla="*/ 54083637 w 1953758"/>
                <a:gd name="T11" fmla="*/ 1270114 h 1269943"/>
                <a:gd name="T12" fmla="*/ 6571047 w 1953758"/>
                <a:gd name="T13" fmla="*/ 1270114 h 1269943"/>
                <a:gd name="T14" fmla="*/ 0 w 1953758"/>
                <a:gd name="T15" fmla="*/ 1058425 h 1269943"/>
                <a:gd name="T16" fmla="*/ 0 w 1953758"/>
                <a:gd name="T17" fmla="*/ 211691 h 12699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53758"/>
                <a:gd name="T28" fmla="*/ 0 h 1269943"/>
                <a:gd name="T29" fmla="*/ 1953758 w 1953758"/>
                <a:gd name="T30" fmla="*/ 1269943 h 12699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rgbClr val="4BACC6"/>
            </a:solidFill>
            <a:ln w="38100">
              <a:solidFill>
                <a:srgbClr val="FFFFFF"/>
              </a:solidFill>
              <a:miter lim="800000"/>
              <a:headEnd/>
              <a:tailEnd/>
            </a:ln>
            <a:effectLst>
              <a:outerShdw blurRad="63500" sx="102000" sy="102000" algn="ctr" rotWithShape="0">
                <a:prstClr val="black">
                  <a:alpha val="40000"/>
                </a:prstClr>
              </a:outerShdw>
            </a:effectLst>
          </p:spPr>
          <p:txBody>
            <a:bodyPr lIns="130574" tIns="130574" rIns="130574" bIns="130574" anchor="ctr"/>
            <a:lstStyle/>
            <a:p>
              <a:pPr algn="ctr">
                <a:lnSpc>
                  <a:spcPct val="90000"/>
                </a:lnSpc>
                <a:spcAft>
                  <a:spcPts val="755"/>
                </a:spcAft>
              </a:pPr>
              <a:r>
                <a:rPr lang="uk-UA" sz="1200" kern="1200">
                  <a:solidFill>
                    <a:srgbClr val="FFFFFF"/>
                  </a:solidFill>
                  <a:effectLst/>
                  <a:latin typeface="Arial" panose="020B0604020202020204" pitchFamily="34" charset="0"/>
                  <a:ea typeface="Times New Roman" panose="02020603050405020304" pitchFamily="18" charset="0"/>
                </a:rPr>
                <a:t>Аудитори суб’єктів непублічного інтересу</a:t>
              </a:r>
              <a:endParaRPr lang="uk-UA" sz="1200">
                <a:effectLst/>
                <a:latin typeface="Times New Roman" panose="02020603050405020304" pitchFamily="18" charset="0"/>
                <a:ea typeface="Times New Roman" panose="02020603050405020304" pitchFamily="18" charset="0"/>
              </a:endParaRPr>
            </a:p>
          </p:txBody>
        </p:sp>
        <p:sp>
          <p:nvSpPr>
            <p:cNvPr id="24" name="TextBox 15"/>
            <p:cNvSpPr txBox="1">
              <a:spLocks noChangeArrowheads="1"/>
            </p:cNvSpPr>
            <p:nvPr/>
          </p:nvSpPr>
          <p:spPr bwMode="auto">
            <a:xfrm>
              <a:off x="0" y="0"/>
              <a:ext cx="7482205" cy="675640"/>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algn="ctr">
                <a:spcAft>
                  <a:spcPts val="0"/>
                </a:spcAft>
              </a:pPr>
              <a:r>
                <a:rPr lang="uk-UA" sz="1400" b="1"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Орган суспільного нагляду за аудиторською діяльністю (</a:t>
              </a:r>
              <a:r>
                <a:rPr lang="uk-UA" sz="1400" b="1" kern="1200" dirty="0" smtClean="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ОСН</a:t>
              </a:r>
              <a:r>
                <a:rPr lang="uk-UA" sz="1400" b="1" dirty="0" smtClean="0">
                  <a:solidFill>
                    <a:srgbClr val="FFFFFF"/>
                  </a:solidFill>
                  <a:latin typeface="Arial" panose="020B0604020202020204" pitchFamily="34" charset="0"/>
                  <a:ea typeface="Times New Roman" panose="02020603050405020304" pitchFamily="18" charset="0"/>
                  <a:cs typeface="Times New Roman" panose="02020603050405020304" pitchFamily="18" charset="0"/>
                </a:rPr>
                <a:t>АД</a:t>
              </a:r>
              <a:r>
                <a:rPr lang="uk-UA" sz="1400" b="1" kern="1200" dirty="0" smtClean="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a:t>
              </a:r>
              <a:endParaRPr lang="uk-UA" sz="1200" dirty="0">
                <a:effectLst/>
                <a:latin typeface="Times New Roman" panose="02020603050405020304" pitchFamily="18" charset="0"/>
                <a:ea typeface="Times New Roman" panose="02020603050405020304" pitchFamily="18" charset="0"/>
              </a:endParaRPr>
            </a:p>
          </p:txBody>
        </p:sp>
        <p:sp>
          <p:nvSpPr>
            <p:cNvPr id="25" name="Freeform 23"/>
            <p:cNvSpPr>
              <a:spLocks/>
            </p:cNvSpPr>
            <p:nvPr/>
          </p:nvSpPr>
          <p:spPr bwMode="auto">
            <a:xfrm>
              <a:off x="3538201" y="2112963"/>
              <a:ext cx="1860550" cy="1270000"/>
            </a:xfrm>
            <a:custGeom>
              <a:avLst/>
              <a:gdLst>
                <a:gd name="T0" fmla="*/ 0 w 1953758"/>
                <a:gd name="T1" fmla="*/ 211691 h 1269943"/>
                <a:gd name="T2" fmla="*/ 122418 w 1953758"/>
                <a:gd name="T3" fmla="*/ 0 h 1269943"/>
                <a:gd name="T4" fmla="*/ 1007574 w 1953758"/>
                <a:gd name="T5" fmla="*/ 0 h 1269943"/>
                <a:gd name="T6" fmla="*/ 1129992 w 1953758"/>
                <a:gd name="T7" fmla="*/ 211691 h 1269943"/>
                <a:gd name="T8" fmla="*/ 1129992 w 1953758"/>
                <a:gd name="T9" fmla="*/ 1058425 h 1269943"/>
                <a:gd name="T10" fmla="*/ 1007574 w 1953758"/>
                <a:gd name="T11" fmla="*/ 1270114 h 1269943"/>
                <a:gd name="T12" fmla="*/ 122418 w 1953758"/>
                <a:gd name="T13" fmla="*/ 1270114 h 1269943"/>
                <a:gd name="T14" fmla="*/ 0 w 1953758"/>
                <a:gd name="T15" fmla="*/ 1058425 h 1269943"/>
                <a:gd name="T16" fmla="*/ 0 w 1953758"/>
                <a:gd name="T17" fmla="*/ 211691 h 12699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53758"/>
                <a:gd name="T28" fmla="*/ 0 h 1269943"/>
                <a:gd name="T29" fmla="*/ 1953758 w 1953758"/>
                <a:gd name="T30" fmla="*/ 1269943 h 12699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rgbClr val="8064A2"/>
            </a:solidFill>
            <a:ln w="38100">
              <a:solidFill>
                <a:srgbClr val="FFFFFF"/>
              </a:solidFill>
              <a:miter lim="800000"/>
              <a:headEnd/>
              <a:tailEnd/>
            </a:ln>
            <a:effectLst>
              <a:outerShdw blurRad="63500" sx="102000" sy="102000" algn="ctr" rotWithShape="0">
                <a:prstClr val="black">
                  <a:alpha val="40000"/>
                </a:prstClr>
              </a:outerShdw>
            </a:effectLst>
          </p:spPr>
          <p:txBody>
            <a:bodyPr lIns="130574" tIns="130574" rIns="130574" bIns="130574" anchor="ctr"/>
            <a:lstStyle/>
            <a:p>
              <a:pPr algn="ctr">
                <a:lnSpc>
                  <a:spcPct val="90000"/>
                </a:lnSpc>
                <a:spcAft>
                  <a:spcPts val="755"/>
                </a:spcAft>
              </a:pPr>
              <a:r>
                <a:rPr lang="uk-UA" sz="1200" kern="1200">
                  <a:solidFill>
                    <a:srgbClr val="FFFFFF"/>
                  </a:solidFill>
                  <a:effectLst/>
                  <a:latin typeface="Arial" panose="020B0604020202020204" pitchFamily="34" charset="0"/>
                  <a:ea typeface="Times New Roman" panose="02020603050405020304" pitchFamily="18" charset="0"/>
                </a:rPr>
                <a:t>Перевірка контролю якості</a:t>
              </a:r>
              <a:r>
                <a:rPr lang="uk-UA" sz="1800" kern="1200">
                  <a:solidFill>
                    <a:srgbClr val="FFFFFF"/>
                  </a:solidFill>
                  <a:effectLst/>
                  <a:latin typeface="Arial" panose="020B0604020202020204" pitchFamily="34" charset="0"/>
                  <a:ea typeface="Times New Roman" panose="02020603050405020304" pitchFamily="18" charset="0"/>
                </a:rPr>
                <a:t> </a:t>
              </a:r>
              <a:r>
                <a:rPr lang="uk-UA" sz="1200" kern="1200">
                  <a:solidFill>
                    <a:srgbClr val="FFFFFF"/>
                  </a:solidFill>
                  <a:effectLst/>
                  <a:latin typeface="Arial" panose="020B0604020202020204" pitchFamily="34" charset="0"/>
                  <a:ea typeface="Times New Roman" panose="02020603050405020304" pitchFamily="18" charset="0"/>
                </a:rPr>
                <a:t>АПУ</a:t>
              </a:r>
              <a:r>
                <a:rPr lang="uk-UA" sz="1800" kern="1200">
                  <a:solidFill>
                    <a:srgbClr val="FFFFFF"/>
                  </a:solidFill>
                  <a:effectLst/>
                  <a:latin typeface="Arial" panose="020B0604020202020204" pitchFamily="34" charset="0"/>
                  <a:ea typeface="Times New Roman" panose="02020603050405020304" pitchFamily="18" charset="0"/>
                </a:rPr>
                <a:t> </a:t>
              </a:r>
              <a:endParaRPr lang="uk-UA" sz="1200">
                <a:effectLst/>
                <a:latin typeface="Times New Roman" panose="02020603050405020304" pitchFamily="18" charset="0"/>
                <a:ea typeface="Times New Roman" panose="02020603050405020304" pitchFamily="18" charset="0"/>
              </a:endParaRPr>
            </a:p>
          </p:txBody>
        </p:sp>
        <p:sp>
          <p:nvSpPr>
            <p:cNvPr id="26" name="Down Arrow 24"/>
            <p:cNvSpPr>
              <a:spLocks noChangeArrowheads="1"/>
            </p:cNvSpPr>
            <p:nvPr/>
          </p:nvSpPr>
          <p:spPr bwMode="auto">
            <a:xfrm>
              <a:off x="5740797" y="1733550"/>
              <a:ext cx="655638" cy="2168524"/>
            </a:xfrm>
            <a:prstGeom prst="downArrow">
              <a:avLst>
                <a:gd name="adj1" fmla="val 50000"/>
                <a:gd name="adj2" fmla="val 49963"/>
              </a:avLst>
            </a:prstGeom>
            <a:solidFill>
              <a:srgbClr val="FFC000"/>
            </a:solidFill>
            <a:ln w="9525">
              <a:solidFill>
                <a:srgbClr val="4A7EBB"/>
              </a:solidFill>
              <a:miter lim="800000"/>
              <a:headEnd/>
              <a:tailEnd/>
            </a:ln>
            <a:effectLst>
              <a:outerShdw blurRad="63500" sx="102000" sy="102000" algn="ctr" rotWithShape="0">
                <a:prstClr val="black">
                  <a:alpha val="40000"/>
                </a:prstClr>
              </a:outerShdw>
            </a:effectLst>
          </p:spPr>
          <p:txBody>
            <a:bodyPr anchor="ctr"/>
            <a:lstStyle/>
            <a:p>
              <a:endParaRPr lang="uk-UA"/>
            </a:p>
          </p:txBody>
        </p:sp>
        <p:sp>
          <p:nvSpPr>
            <p:cNvPr id="27" name="Down Arrow 25"/>
            <p:cNvSpPr>
              <a:spLocks noChangeArrowheads="1"/>
            </p:cNvSpPr>
            <p:nvPr/>
          </p:nvSpPr>
          <p:spPr bwMode="auto">
            <a:xfrm>
              <a:off x="4167557" y="3465407"/>
              <a:ext cx="655638" cy="422484"/>
            </a:xfrm>
            <a:prstGeom prst="downArrow">
              <a:avLst>
                <a:gd name="adj1" fmla="val 50000"/>
                <a:gd name="adj2" fmla="val 50000"/>
              </a:avLst>
            </a:prstGeom>
            <a:solidFill>
              <a:srgbClr val="FFC000"/>
            </a:solidFill>
            <a:ln w="9525">
              <a:solidFill>
                <a:srgbClr val="4A7EBB"/>
              </a:solidFill>
              <a:miter lim="800000"/>
              <a:headEnd/>
              <a:tailEnd/>
            </a:ln>
            <a:effectLst>
              <a:outerShdw blurRad="63500" sx="102000" sy="102000" algn="ctr" rotWithShape="0">
                <a:prstClr val="black">
                  <a:alpha val="40000"/>
                </a:prstClr>
              </a:outerShdw>
            </a:effectLst>
          </p:spPr>
          <p:txBody>
            <a:bodyPr anchor="ctr"/>
            <a:lstStyle/>
            <a:p>
              <a:endParaRPr lang="uk-UA"/>
            </a:p>
          </p:txBody>
        </p:sp>
        <p:sp>
          <p:nvSpPr>
            <p:cNvPr id="28" name="Down Arrow 26"/>
            <p:cNvSpPr>
              <a:spLocks noChangeArrowheads="1"/>
            </p:cNvSpPr>
            <p:nvPr/>
          </p:nvSpPr>
          <p:spPr bwMode="auto">
            <a:xfrm>
              <a:off x="1746003" y="1733550"/>
              <a:ext cx="654050" cy="379414"/>
            </a:xfrm>
            <a:prstGeom prst="downArrow">
              <a:avLst>
                <a:gd name="adj1" fmla="val 50000"/>
                <a:gd name="adj2" fmla="val 50000"/>
              </a:avLst>
            </a:prstGeom>
            <a:solidFill>
              <a:srgbClr val="FFC000"/>
            </a:solidFill>
            <a:ln w="9525">
              <a:solidFill>
                <a:srgbClr val="4A7EBB"/>
              </a:solidFill>
              <a:miter lim="800000"/>
              <a:headEnd/>
              <a:tailEnd/>
            </a:ln>
            <a:effectLst>
              <a:outerShdw blurRad="63500" sx="102000" sy="102000" algn="ctr" rotWithShape="0">
                <a:prstClr val="black">
                  <a:alpha val="40000"/>
                </a:prstClr>
              </a:outerShdw>
            </a:effectLst>
          </p:spPr>
          <p:txBody>
            <a:bodyPr anchor="ctr"/>
            <a:lstStyle/>
            <a:p>
              <a:endParaRPr lang="uk-UA"/>
            </a:p>
          </p:txBody>
        </p:sp>
        <p:sp>
          <p:nvSpPr>
            <p:cNvPr id="29" name="Down Arrow 20"/>
            <p:cNvSpPr/>
            <p:nvPr/>
          </p:nvSpPr>
          <p:spPr>
            <a:xfrm rot="16200000">
              <a:off x="7068834" y="837597"/>
              <a:ext cx="655637" cy="627469"/>
            </a:xfrm>
            <a:prstGeom prst="downArrow">
              <a:avLst/>
            </a:prstGeom>
            <a:solidFill>
              <a:srgbClr val="FFC000"/>
            </a:solidFill>
            <a:ln w="9525">
              <a:solidFill>
                <a:srgbClr val="4A7EBB"/>
              </a:solidFill>
              <a:miter lim="800000"/>
              <a:headEnd/>
              <a:tailEnd/>
            </a:ln>
            <a:effectLst>
              <a:outerShdw blurRad="63500" sx="102000" sy="102000" algn="ctr" rotWithShape="0">
                <a:prstClr val="black">
                  <a:alpha val="40000"/>
                </a:prstClr>
              </a:outerShdw>
            </a:effectLst>
          </p:spPr>
          <p:txBody>
            <a:bodyPr anchor="ctr"/>
            <a:lstStyle/>
            <a:p>
              <a:endParaRPr lang="uk-UA"/>
            </a:p>
          </p:txBody>
        </p:sp>
        <p:sp>
          <p:nvSpPr>
            <p:cNvPr id="30" name="Freeform 11"/>
            <p:cNvSpPr/>
            <p:nvPr/>
          </p:nvSpPr>
          <p:spPr bwMode="auto">
            <a:xfrm>
              <a:off x="7826660" y="520024"/>
              <a:ext cx="2049463" cy="1268412"/>
            </a:xfrm>
            <a:custGeom>
              <a:avLst/>
              <a:gdLst>
                <a:gd name="connsiteX0" fmla="*/ 0 w 1953758"/>
                <a:gd name="connsiteY0" fmla="*/ 211661 h 1269943"/>
                <a:gd name="connsiteX1" fmla="*/ 211661 w 1953758"/>
                <a:gd name="connsiteY1" fmla="*/ 0 h 1269943"/>
                <a:gd name="connsiteX2" fmla="*/ 1742097 w 1953758"/>
                <a:gd name="connsiteY2" fmla="*/ 0 h 1269943"/>
                <a:gd name="connsiteX3" fmla="*/ 1953758 w 1953758"/>
                <a:gd name="connsiteY3" fmla="*/ 211661 h 1269943"/>
                <a:gd name="connsiteX4" fmla="*/ 1953758 w 1953758"/>
                <a:gd name="connsiteY4" fmla="*/ 1058282 h 1269943"/>
                <a:gd name="connsiteX5" fmla="*/ 1742097 w 1953758"/>
                <a:gd name="connsiteY5" fmla="*/ 1269943 h 1269943"/>
                <a:gd name="connsiteX6" fmla="*/ 211661 w 1953758"/>
                <a:gd name="connsiteY6" fmla="*/ 1269943 h 1269943"/>
                <a:gd name="connsiteX7" fmla="*/ 0 w 1953758"/>
                <a:gd name="connsiteY7" fmla="*/ 1058282 h 1269943"/>
                <a:gd name="connsiteX8" fmla="*/ 0 w 1953758"/>
                <a:gd name="connsiteY8" fmla="*/ 211661 h 1269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solidFill>
              <a:schemeClr val="accent4">
                <a:lumMod val="60000"/>
                <a:lumOff val="40000"/>
              </a:schemeClr>
            </a:solidFill>
            <a:ln w="38100"/>
            <a:effectLst>
              <a:outerShdw blurRad="63500" sx="102000" sy="102000" algn="ctr" rotWithShape="0">
                <a:prstClr val="black">
                  <a:alpha val="40000"/>
                </a:prstClr>
              </a:outerShdw>
            </a:effectLst>
          </p:spPr>
          <p:style>
            <a:lnRef idx="3">
              <a:schemeClr val="lt1">
                <a:hueOff val="0"/>
                <a:satOff val="0"/>
                <a:lumOff val="0"/>
                <a:alphaOff val="0"/>
              </a:schemeClr>
            </a:lnRef>
            <a:fillRef idx="1">
              <a:schemeClr val="accent6">
                <a:hueOff val="0"/>
                <a:satOff val="0"/>
                <a:lumOff val="0"/>
                <a:alphaOff val="0"/>
              </a:schemeClr>
            </a:fillRef>
            <a:effectRef idx="1">
              <a:schemeClr val="accent6">
                <a:hueOff val="0"/>
                <a:satOff val="0"/>
                <a:lumOff val="0"/>
                <a:alphaOff val="0"/>
              </a:schemeClr>
            </a:effectRef>
            <a:fontRef idx="minor">
              <a:schemeClr val="lt1"/>
            </a:fontRef>
          </p:style>
          <p:txBody>
            <a:bodyPr lIns="130574" tIns="130574" rIns="130574" bIns="130574" spcCol="1270" anchor="ctr"/>
            <a:lstStyle/>
            <a:p>
              <a:pPr algn="ctr">
                <a:spcAft>
                  <a:spcPts val="0"/>
                </a:spcAft>
              </a:pPr>
              <a:r>
                <a:rPr lang="uk-UA" sz="1200" kern="1200">
                  <a:solidFill>
                    <a:srgbClr val="FFFFFF"/>
                  </a:solidFill>
                  <a:effectLst/>
                  <a:latin typeface="Arial" panose="020B0604020202020204" pitchFamily="34" charset="0"/>
                  <a:ea typeface="Times New Roman" panose="02020603050405020304" pitchFamily="18" charset="0"/>
                </a:rPr>
                <a:t>Комісія з </a:t>
              </a:r>
              <a:endParaRPr lang="uk-UA" sz="1200">
                <a:effectLst/>
                <a:latin typeface="Times New Roman" panose="02020603050405020304" pitchFamily="18" charset="0"/>
                <a:ea typeface="Times New Roman" panose="02020603050405020304" pitchFamily="18" charset="0"/>
              </a:endParaRPr>
            </a:p>
            <a:p>
              <a:pPr algn="ctr">
                <a:spcAft>
                  <a:spcPts val="0"/>
                </a:spcAft>
              </a:pPr>
              <a:r>
                <a:rPr lang="uk-UA" sz="1200" kern="1200">
                  <a:solidFill>
                    <a:srgbClr val="FFFFFF"/>
                  </a:solidFill>
                  <a:effectLst/>
                  <a:latin typeface="Arial" panose="020B0604020202020204" pitchFamily="34" charset="0"/>
                  <a:ea typeface="Times New Roman" panose="02020603050405020304" pitchFamily="18" charset="0"/>
                </a:rPr>
                <a:t>атестації</a:t>
              </a:r>
              <a:endParaRPr lang="uk-UA" sz="1200">
                <a:effectLst/>
                <a:latin typeface="Times New Roman" panose="02020603050405020304" pitchFamily="18" charset="0"/>
                <a:ea typeface="Times New Roman" panose="02020603050405020304" pitchFamily="18" charset="0"/>
              </a:endParaRPr>
            </a:p>
          </p:txBody>
        </p:sp>
        <p:sp>
          <p:nvSpPr>
            <p:cNvPr id="31" name="Down Arrow 17"/>
            <p:cNvSpPr/>
            <p:nvPr/>
          </p:nvSpPr>
          <p:spPr>
            <a:xfrm>
              <a:off x="8523572" y="1866122"/>
              <a:ext cx="655637" cy="1817309"/>
            </a:xfrm>
            <a:prstGeom prst="downArrow">
              <a:avLst/>
            </a:prstGeom>
            <a:solidFill>
              <a:srgbClr val="FFC000"/>
            </a:solidFill>
            <a:ln w="9525">
              <a:solidFill>
                <a:srgbClr val="4A7EBB"/>
              </a:solidFill>
              <a:miter lim="800000"/>
              <a:headEnd/>
              <a:tailEnd/>
            </a:ln>
            <a:effectLst>
              <a:outerShdw blurRad="63500" sx="102000" sy="102000" algn="ctr" rotWithShape="0">
                <a:prstClr val="black">
                  <a:alpha val="40000"/>
                </a:prstClr>
              </a:outerShdw>
            </a:effectLst>
          </p:spPr>
          <p:txBody>
            <a:bodyPr anchor="ctr"/>
            <a:lstStyle/>
            <a:p>
              <a:endParaRPr lang="uk-UA"/>
            </a:p>
          </p:txBody>
        </p:sp>
        <p:sp>
          <p:nvSpPr>
            <p:cNvPr id="32" name="Freeform 9"/>
            <p:cNvSpPr/>
            <p:nvPr/>
          </p:nvSpPr>
          <p:spPr bwMode="auto">
            <a:xfrm>
              <a:off x="7986997" y="3775076"/>
              <a:ext cx="1728787" cy="1443037"/>
            </a:xfrm>
            <a:custGeom>
              <a:avLst/>
              <a:gdLst>
                <a:gd name="connsiteX0" fmla="*/ 0 w 1953758"/>
                <a:gd name="connsiteY0" fmla="*/ 211661 h 1269943"/>
                <a:gd name="connsiteX1" fmla="*/ 211661 w 1953758"/>
                <a:gd name="connsiteY1" fmla="*/ 0 h 1269943"/>
                <a:gd name="connsiteX2" fmla="*/ 1742097 w 1953758"/>
                <a:gd name="connsiteY2" fmla="*/ 0 h 1269943"/>
                <a:gd name="connsiteX3" fmla="*/ 1953758 w 1953758"/>
                <a:gd name="connsiteY3" fmla="*/ 211661 h 1269943"/>
                <a:gd name="connsiteX4" fmla="*/ 1953758 w 1953758"/>
                <a:gd name="connsiteY4" fmla="*/ 1058282 h 1269943"/>
                <a:gd name="connsiteX5" fmla="*/ 1742097 w 1953758"/>
                <a:gd name="connsiteY5" fmla="*/ 1269943 h 1269943"/>
                <a:gd name="connsiteX6" fmla="*/ 211661 w 1953758"/>
                <a:gd name="connsiteY6" fmla="*/ 1269943 h 1269943"/>
                <a:gd name="connsiteX7" fmla="*/ 0 w 1953758"/>
                <a:gd name="connsiteY7" fmla="*/ 1058282 h 1269943"/>
                <a:gd name="connsiteX8" fmla="*/ 0 w 1953758"/>
                <a:gd name="connsiteY8" fmla="*/ 211661 h 1269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3758" h="1269943">
                  <a:moveTo>
                    <a:pt x="0" y="211661"/>
                  </a:moveTo>
                  <a:cubicBezTo>
                    <a:pt x="0" y="94764"/>
                    <a:pt x="94764" y="0"/>
                    <a:pt x="211661" y="0"/>
                  </a:cubicBezTo>
                  <a:lnTo>
                    <a:pt x="1742097" y="0"/>
                  </a:lnTo>
                  <a:cubicBezTo>
                    <a:pt x="1858994" y="0"/>
                    <a:pt x="1953758" y="94764"/>
                    <a:pt x="1953758" y="211661"/>
                  </a:cubicBezTo>
                  <a:lnTo>
                    <a:pt x="1953758" y="1058282"/>
                  </a:lnTo>
                  <a:cubicBezTo>
                    <a:pt x="1953758" y="1175179"/>
                    <a:pt x="1858994" y="1269943"/>
                    <a:pt x="1742097" y="1269943"/>
                  </a:cubicBezTo>
                  <a:lnTo>
                    <a:pt x="211661" y="1269943"/>
                  </a:lnTo>
                  <a:cubicBezTo>
                    <a:pt x="94764" y="1269943"/>
                    <a:pt x="0" y="1175179"/>
                    <a:pt x="0" y="1058282"/>
                  </a:cubicBezTo>
                  <a:lnTo>
                    <a:pt x="0" y="211661"/>
                  </a:lnTo>
                  <a:close/>
                </a:path>
              </a:pathLst>
            </a:custGeom>
            <a:ln w="38100"/>
            <a:effectLst>
              <a:outerShdw blurRad="63500" sx="102000" sy="102000" algn="ctr" rotWithShape="0">
                <a:prstClr val="black">
                  <a:alpha val="40000"/>
                </a:prstClr>
              </a:outerShdw>
            </a:effectLst>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lIns="130574" tIns="130574" rIns="130574" bIns="130574" spcCol="1270" anchor="ctr"/>
            <a:lstStyle/>
            <a:p>
              <a:pPr algn="ctr">
                <a:lnSpc>
                  <a:spcPct val="90000"/>
                </a:lnSpc>
                <a:spcAft>
                  <a:spcPts val="755"/>
                </a:spcAft>
              </a:pPr>
              <a:r>
                <a:rPr lang="uk-UA" sz="1000" kern="1200">
                  <a:solidFill>
                    <a:srgbClr val="FFFFFF"/>
                  </a:solidFill>
                  <a:effectLst/>
                  <a:latin typeface="Arial" panose="020B0604020202020204" pitchFamily="34" charset="0"/>
                  <a:ea typeface="Times New Roman" panose="02020603050405020304" pitchFamily="18" charset="0"/>
                </a:rPr>
                <a:t>Допуск до професії</a:t>
              </a:r>
              <a:endParaRPr lang="uk-UA" sz="1200">
                <a:effectLst/>
                <a:latin typeface="Times New Roman" panose="02020603050405020304" pitchFamily="18" charset="0"/>
                <a:ea typeface="Times New Roman" panose="02020603050405020304" pitchFamily="18" charset="0"/>
              </a:endParaRPr>
            </a:p>
            <a:p>
              <a:pPr algn="ctr">
                <a:lnSpc>
                  <a:spcPct val="90000"/>
                </a:lnSpc>
                <a:spcAft>
                  <a:spcPts val="755"/>
                </a:spcAft>
              </a:pPr>
              <a:r>
                <a:rPr lang="uk-UA" sz="1000" kern="1200">
                  <a:solidFill>
                    <a:srgbClr val="FFFFFF"/>
                  </a:solidFill>
                  <a:effectLst/>
                  <a:latin typeface="Arial" panose="020B0604020202020204" pitchFamily="34" charset="0"/>
                  <a:ea typeface="Times New Roman" panose="02020603050405020304" pitchFamily="18" charset="0"/>
                </a:rPr>
                <a:t>Безперервна професійна</a:t>
              </a:r>
              <a:r>
                <a:rPr lang="uk-UA" sz="1800" kern="1200">
                  <a:solidFill>
                    <a:srgbClr val="FFFFFF"/>
                  </a:solidFill>
                  <a:effectLst/>
                  <a:latin typeface="Arial" panose="020B0604020202020204" pitchFamily="34" charset="0"/>
                  <a:ea typeface="Times New Roman" panose="02020603050405020304" pitchFamily="18" charset="0"/>
                </a:rPr>
                <a:t> </a:t>
              </a:r>
              <a:r>
                <a:rPr lang="uk-UA" sz="1100" kern="1200">
                  <a:solidFill>
                    <a:srgbClr val="FFFFFF"/>
                  </a:solidFill>
                  <a:effectLst/>
                  <a:latin typeface="Arial" panose="020B0604020202020204" pitchFamily="34" charset="0"/>
                  <a:ea typeface="Times New Roman" panose="02020603050405020304" pitchFamily="18" charset="0"/>
                </a:rPr>
                <a:t>освіта</a:t>
              </a:r>
              <a:r>
                <a:rPr lang="uk-UA" sz="1800" kern="1200">
                  <a:solidFill>
                    <a:srgbClr val="FFFFFF"/>
                  </a:solidFill>
                  <a:effectLst/>
                  <a:latin typeface="Arial" panose="020B0604020202020204" pitchFamily="34" charset="0"/>
                  <a:ea typeface="Times New Roman" panose="02020603050405020304" pitchFamily="18" charset="0"/>
                </a:rPr>
                <a:t> </a:t>
              </a:r>
              <a:endParaRPr lang="uk-UA" sz="1200">
                <a:effectLst/>
                <a:latin typeface="Times New Roman" panose="02020603050405020304" pitchFamily="18" charset="0"/>
                <a:ea typeface="Times New Roman" panose="02020603050405020304" pitchFamily="18" charset="0"/>
              </a:endParaRPr>
            </a:p>
          </p:txBody>
        </p:sp>
      </p:grpSp>
    </p:spTree>
    <p:extLst>
      <p:ext uri="{BB962C8B-B14F-4D97-AF65-F5344CB8AC3E}">
        <p14:creationId xmlns:p14="http://schemas.microsoft.com/office/powerpoint/2010/main" val="2136275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4465"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b="1" dirty="0"/>
              <a:t>Реформування у сфері </a:t>
            </a:r>
            <a:r>
              <a:rPr lang="uk-UA" b="1" dirty="0" smtClean="0"/>
              <a:t>аудиту</a:t>
            </a:r>
            <a:endParaRPr lang="en-US" dirty="0"/>
          </a:p>
        </p:txBody>
      </p:sp>
      <p:sp>
        <p:nvSpPr>
          <p:cNvPr id="145" name="Title 2">
            <a:extLst>
              <a:ext uri="{FF2B5EF4-FFF2-40B4-BE49-F238E27FC236}">
                <a16:creationId xmlns:a16="http://schemas.microsoft.com/office/drawing/2014/main" id="{70DDB528-1C62-4756-A2FD-3EC337D8551F}"/>
              </a:ext>
            </a:extLst>
          </p:cNvPr>
          <p:cNvSpPr txBox="1">
            <a:spLocks/>
          </p:cNvSpPr>
          <p:nvPr/>
        </p:nvSpPr>
        <p:spPr>
          <a:xfrm>
            <a:off x="2861370" y="3086165"/>
            <a:ext cx="8865222"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endParaRPr lang="uk-UA" sz="1600" dirty="0">
              <a:latin typeface="+mn-lt"/>
            </a:endParaRPr>
          </a:p>
        </p:txBody>
      </p:sp>
      <p:sp>
        <p:nvSpPr>
          <p:cNvPr id="194" name="Title 2">
            <a:extLst>
              <a:ext uri="{FF2B5EF4-FFF2-40B4-BE49-F238E27FC236}">
                <a16:creationId xmlns:a16="http://schemas.microsoft.com/office/drawing/2014/main" id="{8A3B6838-244F-4CAB-BB8C-23C889DD9812}"/>
              </a:ext>
            </a:extLst>
          </p:cNvPr>
          <p:cNvSpPr txBox="1">
            <a:spLocks/>
          </p:cNvSpPr>
          <p:nvPr/>
        </p:nvSpPr>
        <p:spPr>
          <a:xfrm>
            <a:off x="2927012" y="4216309"/>
            <a:ext cx="8799581"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sp>
        <p:nvSpPr>
          <p:cNvPr id="60" name="Slide Number Placeholder 8">
            <a:extLst>
              <a:ext uri="{FF2B5EF4-FFF2-40B4-BE49-F238E27FC236}">
                <a16:creationId xmlns:a16="http://schemas.microsoft.com/office/drawing/2014/main" id="{43F4AA7C-B41F-49C4-831D-EBCC6E3091E7}"/>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4</a:t>
            </a:fld>
            <a:endParaRPr lang="uk-UA" sz="900" dirty="0">
              <a:latin typeface="+mn-lt"/>
            </a:endParaRPr>
          </a:p>
        </p:txBody>
      </p:sp>
      <p:sp>
        <p:nvSpPr>
          <p:cNvPr id="2" name="Прямокутник 1"/>
          <p:cNvSpPr/>
          <p:nvPr/>
        </p:nvSpPr>
        <p:spPr>
          <a:xfrm>
            <a:off x="660777" y="1239889"/>
            <a:ext cx="11187330" cy="923330"/>
          </a:xfrm>
          <a:prstGeom prst="rect">
            <a:avLst/>
          </a:prstGeom>
        </p:spPr>
        <p:txBody>
          <a:bodyPr wrap="square">
            <a:spAutoFit/>
          </a:bodyPr>
          <a:lstStyle/>
          <a:p>
            <a:pPr algn="ctr"/>
            <a:r>
              <a:rPr lang="uk-UA" dirty="0" smtClean="0">
                <a:solidFill>
                  <a:srgbClr val="0091D7"/>
                </a:solidFill>
              </a:rPr>
              <a:t>Ухвалення Закону </a:t>
            </a:r>
            <a:r>
              <a:rPr lang="uk-UA" dirty="0">
                <a:solidFill>
                  <a:srgbClr val="0091D7"/>
                </a:solidFill>
              </a:rPr>
              <a:t>України «Про внесення змін до деяких законів України щодо удосконалення правових засад провадження аудиторської діяльності в Україні</a:t>
            </a:r>
            <a:r>
              <a:rPr lang="uk-UA" dirty="0" smtClean="0">
                <a:solidFill>
                  <a:srgbClr val="0091D7"/>
                </a:solidFill>
              </a:rPr>
              <a:t>» від </a:t>
            </a:r>
            <a:r>
              <a:rPr lang="ru-RU" dirty="0" smtClean="0">
                <a:solidFill>
                  <a:srgbClr val="0091D7"/>
                </a:solidFill>
              </a:rPr>
              <a:t>20 </a:t>
            </a:r>
            <a:r>
              <a:rPr lang="ru-RU" dirty="0">
                <a:solidFill>
                  <a:srgbClr val="0091D7"/>
                </a:solidFill>
              </a:rPr>
              <a:t>вересня 2022 </a:t>
            </a:r>
            <a:r>
              <a:rPr lang="ru-RU" dirty="0" smtClean="0">
                <a:solidFill>
                  <a:srgbClr val="0091D7"/>
                </a:solidFill>
              </a:rPr>
              <a:t>року № </a:t>
            </a:r>
            <a:r>
              <a:rPr lang="ru-RU" dirty="0">
                <a:solidFill>
                  <a:srgbClr val="0091D7"/>
                </a:solidFill>
              </a:rPr>
              <a:t>2597-IX</a:t>
            </a:r>
            <a:endParaRPr lang="uk-UA" dirty="0">
              <a:solidFill>
                <a:srgbClr val="0091D7"/>
              </a:solidFill>
            </a:endParaRPr>
          </a:p>
        </p:txBody>
      </p:sp>
      <p:sp>
        <p:nvSpPr>
          <p:cNvPr id="22" name="Title 2">
            <a:extLst>
              <a:ext uri="{FF2B5EF4-FFF2-40B4-BE49-F238E27FC236}">
                <a16:creationId xmlns:a16="http://schemas.microsoft.com/office/drawing/2014/main" id="{8A3B6838-244F-4CAB-BB8C-23C889DD9812}"/>
              </a:ext>
            </a:extLst>
          </p:cNvPr>
          <p:cNvSpPr txBox="1">
            <a:spLocks/>
          </p:cNvSpPr>
          <p:nvPr/>
        </p:nvSpPr>
        <p:spPr>
          <a:xfrm>
            <a:off x="2927012" y="2309414"/>
            <a:ext cx="8799581"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grpSp>
        <p:nvGrpSpPr>
          <p:cNvPr id="30" name="Group 8">
            <a:extLst>
              <a:ext uri="{FF2B5EF4-FFF2-40B4-BE49-F238E27FC236}">
                <a16:creationId xmlns:a16="http://schemas.microsoft.com/office/drawing/2014/main" id="{EB2389AA-B6C3-4027-BC78-C2A8F62F4A23}"/>
              </a:ext>
            </a:extLst>
          </p:cNvPr>
          <p:cNvGrpSpPr/>
          <p:nvPr/>
        </p:nvGrpSpPr>
        <p:grpSpPr>
          <a:xfrm>
            <a:off x="604230" y="5220554"/>
            <a:ext cx="11031507" cy="569198"/>
            <a:chOff x="609601" y="3931587"/>
            <a:chExt cx="11129574" cy="569198"/>
          </a:xfrm>
        </p:grpSpPr>
        <p:sp>
          <p:nvSpPr>
            <p:cNvPr id="35" name="Google Shape;105;p16">
              <a:extLst>
                <a:ext uri="{FF2B5EF4-FFF2-40B4-BE49-F238E27FC236}">
                  <a16:creationId xmlns:a16="http://schemas.microsoft.com/office/drawing/2014/main" id="{72087C9C-4F46-4732-8C28-61A04F74F859}"/>
                </a:ext>
              </a:extLst>
            </p:cNvPr>
            <p:cNvSpPr txBox="1"/>
            <p:nvPr/>
          </p:nvSpPr>
          <p:spPr>
            <a:xfrm>
              <a:off x="609601" y="4047583"/>
              <a:ext cx="888999" cy="38971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endParaRPr sz="1200" dirty="0">
                <a:solidFill>
                  <a:schemeClr val="tx2"/>
                </a:solidFill>
                <a:latin typeface="+mj-lt"/>
              </a:endParaRPr>
            </a:p>
          </p:txBody>
        </p:sp>
        <p:sp>
          <p:nvSpPr>
            <p:cNvPr id="33" name="Title 2">
              <a:extLst>
                <a:ext uri="{FF2B5EF4-FFF2-40B4-BE49-F238E27FC236}">
                  <a16:creationId xmlns:a16="http://schemas.microsoft.com/office/drawing/2014/main" id="{8A3B6838-244F-4CAB-BB8C-23C889DD9812}"/>
                </a:ext>
              </a:extLst>
            </p:cNvPr>
            <p:cNvSpPr txBox="1">
              <a:spLocks/>
            </p:cNvSpPr>
            <p:nvPr/>
          </p:nvSpPr>
          <p:spPr>
            <a:xfrm>
              <a:off x="2861369" y="3931587"/>
              <a:ext cx="8877806"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grpSp>
      <p:sp>
        <p:nvSpPr>
          <p:cNvPr id="4" name="Прямокутник 3"/>
          <p:cNvSpPr/>
          <p:nvPr/>
        </p:nvSpPr>
        <p:spPr>
          <a:xfrm>
            <a:off x="1406770" y="2342860"/>
            <a:ext cx="10155116" cy="584775"/>
          </a:xfrm>
          <a:prstGeom prst="rect">
            <a:avLst/>
          </a:prstGeom>
        </p:spPr>
        <p:txBody>
          <a:bodyPr wrap="square">
            <a:spAutoFit/>
          </a:bodyPr>
          <a:lstStyle/>
          <a:p>
            <a:r>
              <a:rPr lang="uk-UA" sz="1600" dirty="0"/>
              <a:t>імплементація норм європейського законодавства та удосконалення окремих норм щодо вимог до аудитора та аудиторської фірми</a:t>
            </a:r>
          </a:p>
        </p:txBody>
      </p:sp>
      <p:sp>
        <p:nvSpPr>
          <p:cNvPr id="5" name="Прямокутник 4"/>
          <p:cNvSpPr/>
          <p:nvPr/>
        </p:nvSpPr>
        <p:spPr>
          <a:xfrm>
            <a:off x="1406769" y="3883951"/>
            <a:ext cx="9483812" cy="338554"/>
          </a:xfrm>
          <a:prstGeom prst="rect">
            <a:avLst/>
          </a:prstGeom>
        </p:spPr>
        <p:txBody>
          <a:bodyPr wrap="square">
            <a:spAutoFit/>
          </a:bodyPr>
          <a:lstStyle/>
          <a:p>
            <a:r>
              <a:rPr lang="uk-UA" sz="1600" dirty="0"/>
              <a:t>забезпечення однозначності змісту аудиторського звіту</a:t>
            </a:r>
          </a:p>
        </p:txBody>
      </p:sp>
      <p:sp>
        <p:nvSpPr>
          <p:cNvPr id="6" name="Прямокутник 5"/>
          <p:cNvSpPr/>
          <p:nvPr/>
        </p:nvSpPr>
        <p:spPr>
          <a:xfrm>
            <a:off x="1406769" y="5492393"/>
            <a:ext cx="10319823" cy="584775"/>
          </a:xfrm>
          <a:prstGeom prst="rect">
            <a:avLst/>
          </a:prstGeom>
        </p:spPr>
        <p:txBody>
          <a:bodyPr wrap="square">
            <a:spAutoFit/>
          </a:bodyPr>
          <a:lstStyle/>
          <a:p>
            <a:r>
              <a:rPr lang="uk-UA" sz="1600" dirty="0"/>
              <a:t>особливостей проведення обов’язкового аудиту та аудиту підприємств, що становлять суспільний інтерес</a:t>
            </a:r>
          </a:p>
        </p:txBody>
      </p:sp>
      <p:sp>
        <p:nvSpPr>
          <p:cNvPr id="8" name="Прямокутник 7"/>
          <p:cNvSpPr/>
          <p:nvPr/>
        </p:nvSpPr>
        <p:spPr>
          <a:xfrm>
            <a:off x="1406769" y="4563450"/>
            <a:ext cx="9374538" cy="338554"/>
          </a:xfrm>
          <a:prstGeom prst="rect">
            <a:avLst/>
          </a:prstGeom>
        </p:spPr>
        <p:txBody>
          <a:bodyPr wrap="square">
            <a:spAutoFit/>
          </a:bodyPr>
          <a:lstStyle/>
          <a:p>
            <a:r>
              <a:rPr lang="uk-UA" sz="1600" dirty="0"/>
              <a:t>порядку атестації аудиторів</a:t>
            </a:r>
          </a:p>
        </p:txBody>
      </p:sp>
      <p:sp>
        <p:nvSpPr>
          <p:cNvPr id="7" name="Прямокутник 6"/>
          <p:cNvSpPr/>
          <p:nvPr/>
        </p:nvSpPr>
        <p:spPr>
          <a:xfrm>
            <a:off x="1406769" y="3105835"/>
            <a:ext cx="7737231" cy="338554"/>
          </a:xfrm>
          <a:prstGeom prst="rect">
            <a:avLst/>
          </a:prstGeom>
        </p:spPr>
        <p:txBody>
          <a:bodyPr wrap="square">
            <a:spAutoFit/>
          </a:bodyPr>
          <a:lstStyle/>
          <a:p>
            <a:r>
              <a:rPr lang="uk-UA" sz="1600" dirty="0"/>
              <a:t>процедури контролю якості аудиторських послуг</a:t>
            </a:r>
          </a:p>
        </p:txBody>
      </p:sp>
      <p:grpSp>
        <p:nvGrpSpPr>
          <p:cNvPr id="36" name="Google Shape;6952;p57">
            <a:extLst>
              <a:ext uri="{FF2B5EF4-FFF2-40B4-BE49-F238E27FC236}">
                <a16:creationId xmlns:a16="http://schemas.microsoft.com/office/drawing/2014/main" id="{FE79A439-90DC-49A5-8B51-6C52D0D03C1C}"/>
              </a:ext>
            </a:extLst>
          </p:cNvPr>
          <p:cNvGrpSpPr/>
          <p:nvPr/>
        </p:nvGrpSpPr>
        <p:grpSpPr>
          <a:xfrm>
            <a:off x="604230" y="2309414"/>
            <a:ext cx="425564" cy="491398"/>
            <a:chOff x="-39783425" y="2337925"/>
            <a:chExt cx="275700" cy="318350"/>
          </a:xfrm>
          <a:solidFill>
            <a:schemeClr val="tx1"/>
          </a:solidFill>
        </p:grpSpPr>
        <p:sp>
          <p:nvSpPr>
            <p:cNvPr id="37" name="Google Shape;6953;p57">
              <a:extLst>
                <a:ext uri="{FF2B5EF4-FFF2-40B4-BE49-F238E27FC236}">
                  <a16:creationId xmlns:a16="http://schemas.microsoft.com/office/drawing/2014/main" id="{D564B570-7990-44D9-BF5E-BF6731B48075}"/>
                </a:ext>
              </a:extLst>
            </p:cNvPr>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954;p57">
              <a:extLst>
                <a:ext uri="{FF2B5EF4-FFF2-40B4-BE49-F238E27FC236}">
                  <a16:creationId xmlns:a16="http://schemas.microsoft.com/office/drawing/2014/main" id="{F0BD1A68-9789-41AF-ACDA-F30F53906BCE}"/>
                </a:ext>
              </a:extLst>
            </p:cNvPr>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39" name="Google Shape;6952;p57">
            <a:extLst>
              <a:ext uri="{FF2B5EF4-FFF2-40B4-BE49-F238E27FC236}">
                <a16:creationId xmlns:a16="http://schemas.microsoft.com/office/drawing/2014/main" id="{FE79A439-90DC-49A5-8B51-6C52D0D03C1C}"/>
              </a:ext>
            </a:extLst>
          </p:cNvPr>
          <p:cNvGrpSpPr/>
          <p:nvPr/>
        </p:nvGrpSpPr>
        <p:grpSpPr>
          <a:xfrm>
            <a:off x="604230" y="3050242"/>
            <a:ext cx="425564" cy="491398"/>
            <a:chOff x="-39783425" y="2337925"/>
            <a:chExt cx="275700" cy="318350"/>
          </a:xfrm>
          <a:solidFill>
            <a:schemeClr val="tx1"/>
          </a:solidFill>
        </p:grpSpPr>
        <p:sp>
          <p:nvSpPr>
            <p:cNvPr id="40" name="Google Shape;6953;p57">
              <a:extLst>
                <a:ext uri="{FF2B5EF4-FFF2-40B4-BE49-F238E27FC236}">
                  <a16:creationId xmlns:a16="http://schemas.microsoft.com/office/drawing/2014/main" id="{D564B570-7990-44D9-BF5E-BF6731B48075}"/>
                </a:ext>
              </a:extLst>
            </p:cNvPr>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954;p57">
              <a:extLst>
                <a:ext uri="{FF2B5EF4-FFF2-40B4-BE49-F238E27FC236}">
                  <a16:creationId xmlns:a16="http://schemas.microsoft.com/office/drawing/2014/main" id="{F0BD1A68-9789-41AF-ACDA-F30F53906BCE}"/>
                </a:ext>
              </a:extLst>
            </p:cNvPr>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2" name="Google Shape;6952;p57">
            <a:extLst>
              <a:ext uri="{FF2B5EF4-FFF2-40B4-BE49-F238E27FC236}">
                <a16:creationId xmlns:a16="http://schemas.microsoft.com/office/drawing/2014/main" id="{FE79A439-90DC-49A5-8B51-6C52D0D03C1C}"/>
              </a:ext>
            </a:extLst>
          </p:cNvPr>
          <p:cNvGrpSpPr/>
          <p:nvPr/>
        </p:nvGrpSpPr>
        <p:grpSpPr>
          <a:xfrm>
            <a:off x="604230" y="3839813"/>
            <a:ext cx="425564" cy="491398"/>
            <a:chOff x="-39783425" y="2337925"/>
            <a:chExt cx="275700" cy="318350"/>
          </a:xfrm>
          <a:solidFill>
            <a:schemeClr val="tx1"/>
          </a:solidFill>
        </p:grpSpPr>
        <p:sp>
          <p:nvSpPr>
            <p:cNvPr id="43" name="Google Shape;6953;p57">
              <a:extLst>
                <a:ext uri="{FF2B5EF4-FFF2-40B4-BE49-F238E27FC236}">
                  <a16:creationId xmlns:a16="http://schemas.microsoft.com/office/drawing/2014/main" id="{D564B570-7990-44D9-BF5E-BF6731B48075}"/>
                </a:ext>
              </a:extLst>
            </p:cNvPr>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 name="Google Shape;6954;p57">
              <a:extLst>
                <a:ext uri="{FF2B5EF4-FFF2-40B4-BE49-F238E27FC236}">
                  <a16:creationId xmlns:a16="http://schemas.microsoft.com/office/drawing/2014/main" id="{F0BD1A68-9789-41AF-ACDA-F30F53906BCE}"/>
                </a:ext>
              </a:extLst>
            </p:cNvPr>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 name="Google Shape;6952;p57">
            <a:extLst>
              <a:ext uri="{FF2B5EF4-FFF2-40B4-BE49-F238E27FC236}">
                <a16:creationId xmlns:a16="http://schemas.microsoft.com/office/drawing/2014/main" id="{FE79A439-90DC-49A5-8B51-6C52D0D03C1C}"/>
              </a:ext>
            </a:extLst>
          </p:cNvPr>
          <p:cNvGrpSpPr/>
          <p:nvPr/>
        </p:nvGrpSpPr>
        <p:grpSpPr>
          <a:xfrm>
            <a:off x="604230" y="4629384"/>
            <a:ext cx="425564" cy="491398"/>
            <a:chOff x="-39783425" y="2337925"/>
            <a:chExt cx="275700" cy="318350"/>
          </a:xfrm>
          <a:solidFill>
            <a:schemeClr val="tx1"/>
          </a:solidFill>
        </p:grpSpPr>
        <p:sp>
          <p:nvSpPr>
            <p:cNvPr id="46" name="Google Shape;6953;p57">
              <a:extLst>
                <a:ext uri="{FF2B5EF4-FFF2-40B4-BE49-F238E27FC236}">
                  <a16:creationId xmlns:a16="http://schemas.microsoft.com/office/drawing/2014/main" id="{D564B570-7990-44D9-BF5E-BF6731B48075}"/>
                </a:ext>
              </a:extLst>
            </p:cNvPr>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954;p57">
              <a:extLst>
                <a:ext uri="{FF2B5EF4-FFF2-40B4-BE49-F238E27FC236}">
                  <a16:creationId xmlns:a16="http://schemas.microsoft.com/office/drawing/2014/main" id="{F0BD1A68-9789-41AF-ACDA-F30F53906BCE}"/>
                </a:ext>
              </a:extLst>
            </p:cNvPr>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8" name="Google Shape;6952;p57">
            <a:extLst>
              <a:ext uri="{FF2B5EF4-FFF2-40B4-BE49-F238E27FC236}">
                <a16:creationId xmlns:a16="http://schemas.microsoft.com/office/drawing/2014/main" id="{FE79A439-90DC-49A5-8B51-6C52D0D03C1C}"/>
              </a:ext>
            </a:extLst>
          </p:cNvPr>
          <p:cNvGrpSpPr/>
          <p:nvPr/>
        </p:nvGrpSpPr>
        <p:grpSpPr>
          <a:xfrm>
            <a:off x="619249" y="5525510"/>
            <a:ext cx="425564" cy="491398"/>
            <a:chOff x="-39783425" y="2337925"/>
            <a:chExt cx="275700" cy="318350"/>
          </a:xfrm>
          <a:solidFill>
            <a:schemeClr val="tx1"/>
          </a:solidFill>
        </p:grpSpPr>
        <p:sp>
          <p:nvSpPr>
            <p:cNvPr id="49" name="Google Shape;6953;p57">
              <a:extLst>
                <a:ext uri="{FF2B5EF4-FFF2-40B4-BE49-F238E27FC236}">
                  <a16:creationId xmlns:a16="http://schemas.microsoft.com/office/drawing/2014/main" id="{D564B570-7990-44D9-BF5E-BF6731B48075}"/>
                </a:ext>
              </a:extLst>
            </p:cNvPr>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6954;p57">
              <a:extLst>
                <a:ext uri="{FF2B5EF4-FFF2-40B4-BE49-F238E27FC236}">
                  <a16:creationId xmlns:a16="http://schemas.microsoft.com/office/drawing/2014/main" id="{F0BD1A68-9789-41AF-ACDA-F30F53906BCE}"/>
                </a:ext>
              </a:extLst>
            </p:cNvPr>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extLst>
      <p:ext uri="{BB962C8B-B14F-4D97-AF65-F5344CB8AC3E}">
        <p14:creationId xmlns:p14="http://schemas.microsoft.com/office/powerpoint/2010/main" val="2828476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5488"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32" name="Text Placeholder 131">
            <a:extLst>
              <a:ext uri="{FF2B5EF4-FFF2-40B4-BE49-F238E27FC236}">
                <a16:creationId xmlns:a16="http://schemas.microsoft.com/office/drawing/2014/main" id="{6A5701B5-8EF9-489C-BF66-E9365C84051E}"/>
              </a:ext>
            </a:extLst>
          </p:cNvPr>
          <p:cNvSpPr>
            <a:spLocks noGrp="1"/>
          </p:cNvSpPr>
          <p:nvPr>
            <p:ph type="body" sz="quarter" idx="11"/>
          </p:nvPr>
        </p:nvSpPr>
        <p:spPr>
          <a:xfrm>
            <a:off x="1737435" y="3912577"/>
            <a:ext cx="9472832" cy="1320481"/>
          </a:xfrm>
        </p:spPr>
        <p:txBody>
          <a:bodyPr/>
          <a:lstStyle/>
          <a:p>
            <a:r>
              <a:rPr lang="uk-UA" sz="2000" dirty="0"/>
              <a:t>Закон України </a:t>
            </a:r>
            <a:r>
              <a:rPr lang="uk-UA" sz="2000" dirty="0" smtClean="0"/>
              <a:t>«</a:t>
            </a:r>
            <a:r>
              <a:rPr lang="uk-UA" sz="2000" b="1" dirty="0" smtClean="0">
                <a:cs typeface="Arial" panose="020B0604020202020204" pitchFamily="34" charset="0"/>
              </a:rPr>
              <a:t>Про </a:t>
            </a:r>
            <a:r>
              <a:rPr lang="uk-UA" sz="2000" b="1" dirty="0">
                <a:cs typeface="Arial" panose="020B0604020202020204" pitchFamily="34" charset="0"/>
              </a:rPr>
              <a:t>внесення змін до Закону України "Про захист інтересів суб’єктів подання звітності та інших документів у період дії воєнного стану або стану війни" щодо звільнення від відповідальності за порушення строків оприлюднення фінансової звітності у період дії воєнного стану або стану </a:t>
            </a:r>
            <a:r>
              <a:rPr lang="uk-UA" sz="2000" b="1" dirty="0" smtClean="0">
                <a:cs typeface="Arial" panose="020B0604020202020204" pitchFamily="34" charset="0"/>
              </a:rPr>
              <a:t>війни» </a:t>
            </a:r>
            <a:r>
              <a:rPr lang="ru-RU" sz="2000" b="1" dirty="0"/>
              <a:t>19 липня 2022 </a:t>
            </a:r>
            <a:r>
              <a:rPr lang="ru-RU" sz="2000" b="1" dirty="0" smtClean="0"/>
              <a:t>року № </a:t>
            </a:r>
            <a:r>
              <a:rPr lang="ru-RU" sz="2000" b="1" dirty="0"/>
              <a:t>2436-IX</a:t>
            </a:r>
            <a:endParaRPr lang="uk-UA" sz="2000" dirty="0"/>
          </a:p>
        </p:txBody>
      </p:sp>
      <p:sp>
        <p:nvSpPr>
          <p:cNvPr id="29" name="Slide Number Placeholder 8">
            <a:extLst>
              <a:ext uri="{FF2B5EF4-FFF2-40B4-BE49-F238E27FC236}">
                <a16:creationId xmlns:a16="http://schemas.microsoft.com/office/drawing/2014/main" id="{C731F8CE-1D32-4BDF-9204-97A1C07D42F8}"/>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5</a:t>
            </a:fld>
            <a:endParaRPr lang="uk-UA" sz="900" dirty="0">
              <a:latin typeface="+mn-lt"/>
            </a:endParaRPr>
          </a:p>
        </p:txBody>
      </p:sp>
      <p:sp>
        <p:nvSpPr>
          <p:cNvPr id="2" name="Заголовок 1"/>
          <p:cNvSpPr>
            <a:spLocks noGrp="1"/>
          </p:cNvSpPr>
          <p:nvPr>
            <p:ph type="title"/>
          </p:nvPr>
        </p:nvSpPr>
        <p:spPr/>
        <p:txBody>
          <a:bodyPr/>
          <a:lstStyle/>
          <a:p>
            <a:r>
              <a:rPr lang="uk-UA" sz="2400" dirty="0" smtClean="0"/>
              <a:t>Заходи для підтримки бізнесу</a:t>
            </a:r>
            <a:endParaRPr lang="uk-UA" sz="2400" dirty="0"/>
          </a:p>
        </p:txBody>
      </p:sp>
      <p:sp>
        <p:nvSpPr>
          <p:cNvPr id="3" name="Прямокутник 2"/>
          <p:cNvSpPr/>
          <p:nvPr/>
        </p:nvSpPr>
        <p:spPr>
          <a:xfrm>
            <a:off x="1737435" y="1916326"/>
            <a:ext cx="9411211" cy="1015663"/>
          </a:xfrm>
          <a:prstGeom prst="rect">
            <a:avLst/>
          </a:prstGeom>
        </p:spPr>
        <p:txBody>
          <a:bodyPr wrap="square">
            <a:spAutoFit/>
          </a:bodyPr>
          <a:lstStyle/>
          <a:p>
            <a:r>
              <a:rPr lang="uk-UA" sz="2000" b="1" dirty="0" smtClean="0">
                <a:cs typeface="Arial" panose="020B0604020202020204" pitchFamily="34" charset="0"/>
              </a:rPr>
              <a:t>Закон України «Про </a:t>
            </a:r>
            <a:r>
              <a:rPr lang="uk-UA" sz="2000" b="1" dirty="0">
                <a:cs typeface="Arial" panose="020B0604020202020204" pitchFamily="34" charset="0"/>
              </a:rPr>
              <a:t>захист інтересів суб’єктів подання звітності та інших документів у період дії воєнного стану або стану </a:t>
            </a:r>
            <a:r>
              <a:rPr lang="uk-UA" sz="2000" b="1" dirty="0" smtClean="0">
                <a:cs typeface="Arial" panose="020B0604020202020204" pitchFamily="34" charset="0"/>
              </a:rPr>
              <a:t>війни» від 0</a:t>
            </a:r>
            <a:r>
              <a:rPr lang="ru-RU" sz="2000" b="1" dirty="0" smtClean="0"/>
              <a:t>3 </a:t>
            </a:r>
            <a:r>
              <a:rPr lang="ru-RU" sz="2000" b="1" dirty="0"/>
              <a:t>березня 2022 </a:t>
            </a:r>
            <a:r>
              <a:rPr lang="ru-RU" sz="2000" b="1" dirty="0" smtClean="0"/>
              <a:t>року № </a:t>
            </a:r>
            <a:r>
              <a:rPr lang="ru-RU" sz="2000" b="1" dirty="0"/>
              <a:t>2115-IX</a:t>
            </a:r>
            <a:endParaRPr lang="uk-UA" sz="2000" b="1" dirty="0">
              <a:cs typeface="Arial" panose="020B0604020202020204" pitchFamily="34" charset="0"/>
            </a:endParaRPr>
          </a:p>
        </p:txBody>
      </p:sp>
      <p:sp>
        <p:nvSpPr>
          <p:cNvPr id="14" name="Graphic 20">
            <a:extLst>
              <a:ext uri="{FF2B5EF4-FFF2-40B4-BE49-F238E27FC236}">
                <a16:creationId xmlns:a16="http://schemas.microsoft.com/office/drawing/2014/main" id="{A6722032-24A5-4FC5-ADAD-CC4BD07803E4}"/>
              </a:ext>
            </a:extLst>
          </p:cNvPr>
          <p:cNvSpPr/>
          <p:nvPr/>
        </p:nvSpPr>
        <p:spPr>
          <a:xfrm>
            <a:off x="252013" y="2041716"/>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15" name="Graphic 20">
            <a:extLst>
              <a:ext uri="{FF2B5EF4-FFF2-40B4-BE49-F238E27FC236}">
                <a16:creationId xmlns:a16="http://schemas.microsoft.com/office/drawing/2014/main" id="{A6722032-24A5-4FC5-ADAD-CC4BD07803E4}"/>
              </a:ext>
            </a:extLst>
          </p:cNvPr>
          <p:cNvSpPr/>
          <p:nvPr/>
        </p:nvSpPr>
        <p:spPr>
          <a:xfrm>
            <a:off x="155297" y="377353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Tree>
    <p:extLst>
      <p:ext uri="{BB962C8B-B14F-4D97-AF65-F5344CB8AC3E}">
        <p14:creationId xmlns:p14="http://schemas.microsoft.com/office/powerpoint/2010/main" val="2430001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A4CCFB9-810C-42B9-872D-7621C720B8FE}"/>
              </a:ext>
            </a:extLst>
          </p:cNvPr>
          <p:cNvSpPr>
            <a:spLocks noGrp="1"/>
          </p:cNvSpPr>
          <p:nvPr>
            <p:ph type="title"/>
          </p:nvPr>
        </p:nvSpPr>
        <p:spPr>
          <a:xfrm>
            <a:off x="521677" y="443038"/>
            <a:ext cx="9738945" cy="389715"/>
          </a:xfrm>
        </p:spPr>
        <p:txBody>
          <a:bodyPr/>
          <a:lstStyle/>
          <a:p>
            <a:r>
              <a:rPr lang="uk-UA" sz="2800" dirty="0"/>
              <a:t>Нормативно-правові </a:t>
            </a:r>
            <a:r>
              <a:rPr lang="uk-UA" sz="2800" dirty="0" smtClean="0"/>
              <a:t>акти, що врегульовують питання звітності зі сталого розвитку</a:t>
            </a:r>
            <a:r>
              <a:rPr lang="uk-UA" sz="2800" dirty="0"/>
              <a:t> </a:t>
            </a:r>
            <a:r>
              <a:rPr lang="uk-UA" sz="2800" dirty="0" smtClean="0"/>
              <a:t>у ЄС</a:t>
            </a:r>
            <a:endParaRPr lang="uk-UA" dirty="0"/>
          </a:p>
        </p:txBody>
      </p:sp>
      <p:grpSp>
        <p:nvGrpSpPr>
          <p:cNvPr id="4" name="Group 3">
            <a:extLst>
              <a:ext uri="{FF2B5EF4-FFF2-40B4-BE49-F238E27FC236}">
                <a16:creationId xmlns:a16="http://schemas.microsoft.com/office/drawing/2014/main" id="{25D42DD2-362C-4590-96BC-5CFA756D6A70}"/>
              </a:ext>
            </a:extLst>
          </p:cNvPr>
          <p:cNvGrpSpPr/>
          <p:nvPr/>
        </p:nvGrpSpPr>
        <p:grpSpPr>
          <a:xfrm>
            <a:off x="731837" y="1508206"/>
            <a:ext cx="5484276" cy="1193957"/>
            <a:chOff x="731837" y="1917781"/>
            <a:chExt cx="5484276" cy="1193957"/>
          </a:xfrm>
        </p:grpSpPr>
        <p:sp>
          <p:nvSpPr>
            <p:cNvPr id="23" name="Freeform: Shape 22">
              <a:extLst>
                <a:ext uri="{FF2B5EF4-FFF2-40B4-BE49-F238E27FC236}">
                  <a16:creationId xmlns:a16="http://schemas.microsoft.com/office/drawing/2014/main" id="{649B7BA4-9963-4757-8CF2-1E264718FB30}"/>
                </a:ext>
              </a:extLst>
            </p:cNvPr>
            <p:cNvSpPr/>
            <p:nvPr/>
          </p:nvSpPr>
          <p:spPr>
            <a:xfrm>
              <a:off x="731837" y="2151213"/>
              <a:ext cx="5484276" cy="960525"/>
            </a:xfrm>
            <a:custGeom>
              <a:avLst/>
              <a:gdLst>
                <a:gd name="connsiteX0" fmla="*/ 960526 w 5484276"/>
                <a:gd name="connsiteY0" fmla="*/ 0 h 960525"/>
                <a:gd name="connsiteX1" fmla="*/ 2341651 w 5484276"/>
                <a:gd name="connsiteY1" fmla="*/ 0 h 960525"/>
                <a:gd name="connsiteX2" fmla="*/ 4103151 w 5484276"/>
                <a:gd name="connsiteY2" fmla="*/ 0 h 960525"/>
                <a:gd name="connsiteX3" fmla="*/ 5484276 w 5484276"/>
                <a:gd name="connsiteY3" fmla="*/ 0 h 960525"/>
                <a:gd name="connsiteX4" fmla="*/ 4523748 w 5484276"/>
                <a:gd name="connsiteY4" fmla="*/ 960525 h 960525"/>
                <a:gd name="connsiteX5" fmla="*/ 3142623 w 5484276"/>
                <a:gd name="connsiteY5" fmla="*/ 960525 h 960525"/>
                <a:gd name="connsiteX6" fmla="*/ 1381125 w 5484276"/>
                <a:gd name="connsiteY6" fmla="*/ 960525 h 960525"/>
                <a:gd name="connsiteX7" fmla="*/ 0 w 5484276"/>
                <a:gd name="connsiteY7" fmla="*/ 960525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1381125 w 5484276"/>
                <a:gd name="connsiteY5" fmla="*/ 960525 h 960525"/>
                <a:gd name="connsiteX6" fmla="*/ 0 w 5484276"/>
                <a:gd name="connsiteY6" fmla="*/ 960525 h 960525"/>
                <a:gd name="connsiteX7" fmla="*/ 960526 w 5484276"/>
                <a:gd name="connsiteY7"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0 w 5484276"/>
                <a:gd name="connsiteY5" fmla="*/ 960525 h 960525"/>
                <a:gd name="connsiteX6" fmla="*/ 960526 w 5484276"/>
                <a:gd name="connsiteY6"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0 w 5484276"/>
                <a:gd name="connsiteY4" fmla="*/ 960525 h 960525"/>
                <a:gd name="connsiteX5" fmla="*/ 960526 w 5484276"/>
                <a:gd name="connsiteY5" fmla="*/ 0 h 960525"/>
                <a:gd name="connsiteX0" fmla="*/ 960526 w 5484276"/>
                <a:gd name="connsiteY0" fmla="*/ 0 h 960525"/>
                <a:gd name="connsiteX1" fmla="*/ 5484276 w 5484276"/>
                <a:gd name="connsiteY1" fmla="*/ 0 h 960525"/>
                <a:gd name="connsiteX2" fmla="*/ 4523748 w 5484276"/>
                <a:gd name="connsiteY2" fmla="*/ 960525 h 960525"/>
                <a:gd name="connsiteX3" fmla="*/ 0 w 5484276"/>
                <a:gd name="connsiteY3" fmla="*/ 960525 h 960525"/>
                <a:gd name="connsiteX4" fmla="*/ 960526 w 5484276"/>
                <a:gd name="connsiteY4" fmla="*/ 0 h 96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276" h="960525">
                  <a:moveTo>
                    <a:pt x="960526" y="0"/>
                  </a:moveTo>
                  <a:lnTo>
                    <a:pt x="5484276" y="0"/>
                  </a:lnTo>
                  <a:lnTo>
                    <a:pt x="4523748" y="960525"/>
                  </a:lnTo>
                  <a:lnTo>
                    <a:pt x="0" y="960525"/>
                  </a:lnTo>
                  <a:lnTo>
                    <a:pt x="960526" y="0"/>
                  </a:lnTo>
                  <a:close/>
                </a:path>
              </a:pathLst>
            </a:custGeom>
            <a:solidFill>
              <a:schemeClr val="bg2">
                <a:lumMod val="95000"/>
              </a:schemeClr>
            </a:solidFill>
            <a:ln w="6350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24" name="Graphic 20">
              <a:extLst>
                <a:ext uri="{FF2B5EF4-FFF2-40B4-BE49-F238E27FC236}">
                  <a16:creationId xmlns:a16="http://schemas.microsoft.com/office/drawing/2014/main" id="{D37105C8-4C7D-4CDB-9003-61352320FB11}"/>
                </a:ext>
              </a:extLst>
            </p:cNvPr>
            <p:cNvSpPr/>
            <p:nvPr/>
          </p:nvSpPr>
          <p:spPr>
            <a:xfrm>
              <a:off x="1062005" y="1959109"/>
              <a:ext cx="1052607" cy="438586"/>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6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25" name="Title 2">
              <a:extLst>
                <a:ext uri="{FF2B5EF4-FFF2-40B4-BE49-F238E27FC236}">
                  <a16:creationId xmlns:a16="http://schemas.microsoft.com/office/drawing/2014/main" id="{D0D01C33-50D7-47F1-952A-93F0404BA07B}"/>
                </a:ext>
              </a:extLst>
            </p:cNvPr>
            <p:cNvSpPr txBox="1">
              <a:spLocks/>
            </p:cNvSpPr>
            <p:nvPr/>
          </p:nvSpPr>
          <p:spPr>
            <a:xfrm>
              <a:off x="1343433" y="1917781"/>
              <a:ext cx="436525" cy="464091"/>
            </a:xfrm>
            <a:prstGeom prst="rect">
              <a:avLst/>
            </a:prstGeom>
            <a:ln w="38100">
              <a:noFill/>
            </a:ln>
          </p:spPr>
          <p:txBody>
            <a:bodyPr vert="horz" lIns="0" tIns="0" rIns="0" bIns="0" rtlCol="0" anchor="b">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marL="0" marR="0" lvl="0" indent="-274320" algn="ctr" defTabSz="685800" rtl="0" eaLnBrk="1" fontAlgn="auto" latinLnBrk="0" hangingPunct="1">
                <a:lnSpc>
                  <a:spcPct val="100000"/>
                </a:lnSpc>
                <a:spcBef>
                  <a:spcPct val="0"/>
                </a:spcBef>
                <a:spcAft>
                  <a:spcPts val="0"/>
                </a:spcAft>
                <a:buClrTx/>
                <a:buSzTx/>
                <a:buFontTx/>
                <a:buNone/>
                <a:tabLst/>
                <a:defRPr/>
              </a:pPr>
              <a:r>
                <a:rPr kumimoji="0" lang="uk-UA" sz="2800" b="0" i="0" u="none" strike="noStrike" kern="1200" cap="none" spc="0" normalizeH="0" baseline="0" noProof="0" dirty="0">
                  <a:ln w="19050">
                    <a:noFill/>
                  </a:ln>
                  <a:solidFill>
                    <a:srgbClr val="000000"/>
                  </a:solidFill>
                  <a:effectLst/>
                  <a:uLnTx/>
                  <a:uFillTx/>
                  <a:latin typeface="e-Ukraine Bold"/>
                </a:rPr>
                <a:t>1</a:t>
              </a:r>
              <a:endParaRPr kumimoji="0" lang="en-US" sz="2800" b="0" i="0" u="none" strike="noStrike" kern="1200" cap="none" spc="0" normalizeH="0" baseline="0" noProof="0" dirty="0">
                <a:ln w="19050">
                  <a:noFill/>
                </a:ln>
                <a:solidFill>
                  <a:srgbClr val="000000"/>
                </a:solidFill>
                <a:effectLst/>
                <a:uLnTx/>
                <a:uFillTx/>
                <a:latin typeface="e-Ukraine Bold"/>
              </a:endParaRPr>
            </a:p>
          </p:txBody>
        </p:sp>
        <p:sp>
          <p:nvSpPr>
            <p:cNvPr id="26" name="Title 2">
              <a:extLst>
                <a:ext uri="{FF2B5EF4-FFF2-40B4-BE49-F238E27FC236}">
                  <a16:creationId xmlns:a16="http://schemas.microsoft.com/office/drawing/2014/main" id="{51C5A4D0-765D-43D3-BEEA-5507B25C50D5}"/>
                </a:ext>
              </a:extLst>
            </p:cNvPr>
            <p:cNvSpPr txBox="1">
              <a:spLocks/>
            </p:cNvSpPr>
            <p:nvPr/>
          </p:nvSpPr>
          <p:spPr>
            <a:xfrm>
              <a:off x="1939435" y="2097698"/>
              <a:ext cx="4083296" cy="943485"/>
            </a:xfrm>
            <a:prstGeom prst="rect">
              <a:avLst/>
            </a:prstGeom>
            <a:ln w="38100">
              <a:noFill/>
            </a:ln>
          </p:spPr>
          <p:txBody>
            <a:bodyPr vert="horz" lIns="0" tIns="0" rIns="0" bIns="0" rtlCol="0" anchor="t">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lvl="0">
                <a:spcAft>
                  <a:spcPts val="0"/>
                </a:spcAft>
              </a:pPr>
              <a:r>
                <a:rPr lang="uk-UA" sz="1200" dirty="0"/>
                <a:t>Директива (ЄС) 2022/2464 Європейського Парламенту і Ради від 14 грудня 2022 року про внесення змін до Регламенту (ЄС)  </a:t>
              </a:r>
              <a:r>
                <a:rPr lang="uk-UA" sz="1200" dirty="0" smtClean="0"/>
                <a:t>            № </a:t>
              </a:r>
              <a:r>
                <a:rPr lang="uk-UA" sz="1200" dirty="0"/>
                <a:t>537/2014, Директиви 2004/109/ЄС, Директиви 2006/43/ЄС і Директиви 2013/34/ЄС щодо корпоративної звітності зі сталого розвитку</a:t>
              </a:r>
              <a:endParaRPr kumimoji="0" lang="en-US" sz="1200" b="0" i="0" u="none" strike="noStrike" kern="1200" cap="none" spc="0" normalizeH="0" baseline="0" noProof="0" dirty="0">
                <a:ln>
                  <a:noFill/>
                </a:ln>
                <a:solidFill>
                  <a:srgbClr val="000000"/>
                </a:solidFill>
                <a:effectLst/>
                <a:uLnTx/>
                <a:uFillTx/>
                <a:latin typeface="e-Ukraine UltraLight"/>
              </a:endParaRPr>
            </a:p>
          </p:txBody>
        </p:sp>
      </p:grpSp>
      <p:grpSp>
        <p:nvGrpSpPr>
          <p:cNvPr id="53" name="Group 52">
            <a:extLst>
              <a:ext uri="{FF2B5EF4-FFF2-40B4-BE49-F238E27FC236}">
                <a16:creationId xmlns:a16="http://schemas.microsoft.com/office/drawing/2014/main" id="{29CE2A20-09F7-4DF9-A12F-A376CFBDB3CB}"/>
              </a:ext>
            </a:extLst>
          </p:cNvPr>
          <p:cNvGrpSpPr/>
          <p:nvPr/>
        </p:nvGrpSpPr>
        <p:grpSpPr>
          <a:xfrm>
            <a:off x="6110580" y="1508206"/>
            <a:ext cx="5484276" cy="1193957"/>
            <a:chOff x="810968" y="1917781"/>
            <a:chExt cx="5484276" cy="1193957"/>
          </a:xfrm>
        </p:grpSpPr>
        <p:sp>
          <p:nvSpPr>
            <p:cNvPr id="54" name="Freeform: Shape 53">
              <a:extLst>
                <a:ext uri="{FF2B5EF4-FFF2-40B4-BE49-F238E27FC236}">
                  <a16:creationId xmlns:a16="http://schemas.microsoft.com/office/drawing/2014/main" id="{060AD5FE-FEC3-4010-A45C-AF14EB0F5DBC}"/>
                </a:ext>
              </a:extLst>
            </p:cNvPr>
            <p:cNvSpPr/>
            <p:nvPr/>
          </p:nvSpPr>
          <p:spPr>
            <a:xfrm>
              <a:off x="810968" y="2151213"/>
              <a:ext cx="5484276" cy="960525"/>
            </a:xfrm>
            <a:custGeom>
              <a:avLst/>
              <a:gdLst>
                <a:gd name="connsiteX0" fmla="*/ 960526 w 5484276"/>
                <a:gd name="connsiteY0" fmla="*/ 0 h 960525"/>
                <a:gd name="connsiteX1" fmla="*/ 2341651 w 5484276"/>
                <a:gd name="connsiteY1" fmla="*/ 0 h 960525"/>
                <a:gd name="connsiteX2" fmla="*/ 4103151 w 5484276"/>
                <a:gd name="connsiteY2" fmla="*/ 0 h 960525"/>
                <a:gd name="connsiteX3" fmla="*/ 5484276 w 5484276"/>
                <a:gd name="connsiteY3" fmla="*/ 0 h 960525"/>
                <a:gd name="connsiteX4" fmla="*/ 4523748 w 5484276"/>
                <a:gd name="connsiteY4" fmla="*/ 960525 h 960525"/>
                <a:gd name="connsiteX5" fmla="*/ 3142623 w 5484276"/>
                <a:gd name="connsiteY5" fmla="*/ 960525 h 960525"/>
                <a:gd name="connsiteX6" fmla="*/ 1381125 w 5484276"/>
                <a:gd name="connsiteY6" fmla="*/ 960525 h 960525"/>
                <a:gd name="connsiteX7" fmla="*/ 0 w 5484276"/>
                <a:gd name="connsiteY7" fmla="*/ 960525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1381125 w 5484276"/>
                <a:gd name="connsiteY5" fmla="*/ 960525 h 960525"/>
                <a:gd name="connsiteX6" fmla="*/ 0 w 5484276"/>
                <a:gd name="connsiteY6" fmla="*/ 960525 h 960525"/>
                <a:gd name="connsiteX7" fmla="*/ 960526 w 5484276"/>
                <a:gd name="connsiteY7"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0 w 5484276"/>
                <a:gd name="connsiteY5" fmla="*/ 960525 h 960525"/>
                <a:gd name="connsiteX6" fmla="*/ 960526 w 5484276"/>
                <a:gd name="connsiteY6"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0 w 5484276"/>
                <a:gd name="connsiteY4" fmla="*/ 960525 h 960525"/>
                <a:gd name="connsiteX5" fmla="*/ 960526 w 5484276"/>
                <a:gd name="connsiteY5" fmla="*/ 0 h 960525"/>
                <a:gd name="connsiteX0" fmla="*/ 960526 w 5484276"/>
                <a:gd name="connsiteY0" fmla="*/ 0 h 960525"/>
                <a:gd name="connsiteX1" fmla="*/ 5484276 w 5484276"/>
                <a:gd name="connsiteY1" fmla="*/ 0 h 960525"/>
                <a:gd name="connsiteX2" fmla="*/ 4523748 w 5484276"/>
                <a:gd name="connsiteY2" fmla="*/ 960525 h 960525"/>
                <a:gd name="connsiteX3" fmla="*/ 0 w 5484276"/>
                <a:gd name="connsiteY3" fmla="*/ 960525 h 960525"/>
                <a:gd name="connsiteX4" fmla="*/ 960526 w 5484276"/>
                <a:gd name="connsiteY4" fmla="*/ 0 h 96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276" h="960525">
                  <a:moveTo>
                    <a:pt x="960526" y="0"/>
                  </a:moveTo>
                  <a:lnTo>
                    <a:pt x="5484276" y="0"/>
                  </a:lnTo>
                  <a:lnTo>
                    <a:pt x="4523748" y="960525"/>
                  </a:lnTo>
                  <a:lnTo>
                    <a:pt x="0" y="960525"/>
                  </a:lnTo>
                  <a:lnTo>
                    <a:pt x="960526" y="0"/>
                  </a:lnTo>
                  <a:close/>
                </a:path>
              </a:pathLst>
            </a:custGeom>
            <a:solidFill>
              <a:schemeClr val="bg2">
                <a:lumMod val="95000"/>
              </a:schemeClr>
            </a:solidFill>
            <a:ln w="6350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55" name="Graphic 20">
              <a:extLst>
                <a:ext uri="{FF2B5EF4-FFF2-40B4-BE49-F238E27FC236}">
                  <a16:creationId xmlns:a16="http://schemas.microsoft.com/office/drawing/2014/main" id="{4AB552C5-D87A-4A03-948E-AD8DDF0C2B21}"/>
                </a:ext>
              </a:extLst>
            </p:cNvPr>
            <p:cNvSpPr/>
            <p:nvPr/>
          </p:nvSpPr>
          <p:spPr>
            <a:xfrm>
              <a:off x="1062005" y="1959109"/>
              <a:ext cx="1052607" cy="438586"/>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6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56" name="Title 2">
              <a:extLst>
                <a:ext uri="{FF2B5EF4-FFF2-40B4-BE49-F238E27FC236}">
                  <a16:creationId xmlns:a16="http://schemas.microsoft.com/office/drawing/2014/main" id="{0F5D950D-CF27-4AB8-A798-FBE263F111DF}"/>
                </a:ext>
              </a:extLst>
            </p:cNvPr>
            <p:cNvSpPr txBox="1">
              <a:spLocks/>
            </p:cNvSpPr>
            <p:nvPr/>
          </p:nvSpPr>
          <p:spPr>
            <a:xfrm>
              <a:off x="1343433" y="1917781"/>
              <a:ext cx="436525" cy="464091"/>
            </a:xfrm>
            <a:prstGeom prst="rect">
              <a:avLst/>
            </a:prstGeom>
            <a:ln w="38100">
              <a:noFill/>
            </a:ln>
          </p:spPr>
          <p:txBody>
            <a:bodyPr vert="horz" lIns="0" tIns="0" rIns="0" bIns="0" rtlCol="0" anchor="b">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marL="0" marR="0" lvl="0" indent="-274320" algn="ctr" defTabSz="685800" rtl="0" eaLnBrk="1" fontAlgn="auto" latinLnBrk="0" hangingPunct="1">
                <a:lnSpc>
                  <a:spcPct val="100000"/>
                </a:lnSpc>
                <a:spcBef>
                  <a:spcPct val="0"/>
                </a:spcBef>
                <a:spcAft>
                  <a:spcPts val="0"/>
                </a:spcAft>
                <a:buClrTx/>
                <a:buSzTx/>
                <a:buFontTx/>
                <a:buNone/>
                <a:tabLst/>
                <a:defRPr/>
              </a:pPr>
              <a:r>
                <a:rPr kumimoji="0" lang="uk-UA" sz="2800" b="0" i="0" u="none" strike="noStrike" kern="1200" cap="none" spc="0" normalizeH="0" baseline="0" noProof="0" dirty="0">
                  <a:ln w="19050">
                    <a:noFill/>
                  </a:ln>
                  <a:solidFill>
                    <a:srgbClr val="000000"/>
                  </a:solidFill>
                  <a:effectLst/>
                  <a:uLnTx/>
                  <a:uFillTx/>
                  <a:latin typeface="e-Ukraine Bold"/>
                </a:rPr>
                <a:t>2</a:t>
              </a:r>
              <a:endParaRPr kumimoji="0" lang="en-US" sz="2800" b="0" i="0" u="none" strike="noStrike" kern="1200" cap="none" spc="0" normalizeH="0" baseline="0" noProof="0" dirty="0">
                <a:ln w="19050">
                  <a:noFill/>
                </a:ln>
                <a:solidFill>
                  <a:srgbClr val="000000"/>
                </a:solidFill>
                <a:effectLst/>
                <a:uLnTx/>
                <a:uFillTx/>
                <a:latin typeface="e-Ukraine Bold"/>
              </a:endParaRPr>
            </a:p>
          </p:txBody>
        </p:sp>
        <p:sp>
          <p:nvSpPr>
            <p:cNvPr id="57" name="Title 2">
              <a:extLst>
                <a:ext uri="{FF2B5EF4-FFF2-40B4-BE49-F238E27FC236}">
                  <a16:creationId xmlns:a16="http://schemas.microsoft.com/office/drawing/2014/main" id="{B24EEE89-68F0-4CA3-81E5-0C9082D6EAF7}"/>
                </a:ext>
              </a:extLst>
            </p:cNvPr>
            <p:cNvSpPr txBox="1">
              <a:spLocks/>
            </p:cNvSpPr>
            <p:nvPr/>
          </p:nvSpPr>
          <p:spPr>
            <a:xfrm>
              <a:off x="1948227" y="2111960"/>
              <a:ext cx="3839261" cy="814923"/>
            </a:xfrm>
            <a:prstGeom prst="rect">
              <a:avLst/>
            </a:prstGeom>
            <a:ln w="38100">
              <a:noFill/>
            </a:ln>
          </p:spPr>
          <p:txBody>
            <a:bodyPr vert="horz" lIns="0" tIns="0" rIns="0" bIns="0" rtlCol="0" anchor="t">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r>
                <a:rPr lang="uk-UA" sz="1200" dirty="0"/>
                <a:t>Делегований Регламент Комісії (ЄС) 2023/2772, що доповнює Директиву 2013/34/ЄС Європейського Парламенту і Ради щодо стандартів звітності зі сталого </a:t>
              </a:r>
              <a:r>
                <a:rPr lang="uk-UA" sz="1200" dirty="0" smtClean="0"/>
                <a:t>розвитку</a:t>
              </a:r>
              <a:endParaRPr lang="uk-UA" sz="1200" dirty="0"/>
            </a:p>
          </p:txBody>
        </p:sp>
      </p:grpSp>
      <p:grpSp>
        <p:nvGrpSpPr>
          <p:cNvPr id="60" name="Group 59">
            <a:extLst>
              <a:ext uri="{FF2B5EF4-FFF2-40B4-BE49-F238E27FC236}">
                <a16:creationId xmlns:a16="http://schemas.microsoft.com/office/drawing/2014/main" id="{833A66E6-C4EA-49AD-A28B-C56A899BB46D}"/>
              </a:ext>
            </a:extLst>
          </p:cNvPr>
          <p:cNvGrpSpPr/>
          <p:nvPr/>
        </p:nvGrpSpPr>
        <p:grpSpPr>
          <a:xfrm>
            <a:off x="705460" y="3135104"/>
            <a:ext cx="5484276" cy="1193957"/>
            <a:chOff x="705460" y="1917781"/>
            <a:chExt cx="5484276" cy="1193957"/>
          </a:xfrm>
        </p:grpSpPr>
        <p:sp>
          <p:nvSpPr>
            <p:cNvPr id="64" name="Freeform: Shape 63">
              <a:extLst>
                <a:ext uri="{FF2B5EF4-FFF2-40B4-BE49-F238E27FC236}">
                  <a16:creationId xmlns:a16="http://schemas.microsoft.com/office/drawing/2014/main" id="{03A93CAD-E548-49B9-B2A9-1CB211608969}"/>
                </a:ext>
              </a:extLst>
            </p:cNvPr>
            <p:cNvSpPr/>
            <p:nvPr/>
          </p:nvSpPr>
          <p:spPr>
            <a:xfrm>
              <a:off x="705460" y="2151213"/>
              <a:ext cx="5484276" cy="960525"/>
            </a:xfrm>
            <a:custGeom>
              <a:avLst/>
              <a:gdLst>
                <a:gd name="connsiteX0" fmla="*/ 960526 w 5484276"/>
                <a:gd name="connsiteY0" fmla="*/ 0 h 960525"/>
                <a:gd name="connsiteX1" fmla="*/ 2341651 w 5484276"/>
                <a:gd name="connsiteY1" fmla="*/ 0 h 960525"/>
                <a:gd name="connsiteX2" fmla="*/ 4103151 w 5484276"/>
                <a:gd name="connsiteY2" fmla="*/ 0 h 960525"/>
                <a:gd name="connsiteX3" fmla="*/ 5484276 w 5484276"/>
                <a:gd name="connsiteY3" fmla="*/ 0 h 960525"/>
                <a:gd name="connsiteX4" fmla="*/ 4523748 w 5484276"/>
                <a:gd name="connsiteY4" fmla="*/ 960525 h 960525"/>
                <a:gd name="connsiteX5" fmla="*/ 3142623 w 5484276"/>
                <a:gd name="connsiteY5" fmla="*/ 960525 h 960525"/>
                <a:gd name="connsiteX6" fmla="*/ 1381125 w 5484276"/>
                <a:gd name="connsiteY6" fmla="*/ 960525 h 960525"/>
                <a:gd name="connsiteX7" fmla="*/ 0 w 5484276"/>
                <a:gd name="connsiteY7" fmla="*/ 960525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1381125 w 5484276"/>
                <a:gd name="connsiteY5" fmla="*/ 960525 h 960525"/>
                <a:gd name="connsiteX6" fmla="*/ 0 w 5484276"/>
                <a:gd name="connsiteY6" fmla="*/ 960525 h 960525"/>
                <a:gd name="connsiteX7" fmla="*/ 960526 w 5484276"/>
                <a:gd name="connsiteY7"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0 w 5484276"/>
                <a:gd name="connsiteY5" fmla="*/ 960525 h 960525"/>
                <a:gd name="connsiteX6" fmla="*/ 960526 w 5484276"/>
                <a:gd name="connsiteY6"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0 w 5484276"/>
                <a:gd name="connsiteY4" fmla="*/ 960525 h 960525"/>
                <a:gd name="connsiteX5" fmla="*/ 960526 w 5484276"/>
                <a:gd name="connsiteY5" fmla="*/ 0 h 960525"/>
                <a:gd name="connsiteX0" fmla="*/ 960526 w 5484276"/>
                <a:gd name="connsiteY0" fmla="*/ 0 h 960525"/>
                <a:gd name="connsiteX1" fmla="*/ 5484276 w 5484276"/>
                <a:gd name="connsiteY1" fmla="*/ 0 h 960525"/>
                <a:gd name="connsiteX2" fmla="*/ 4523748 w 5484276"/>
                <a:gd name="connsiteY2" fmla="*/ 960525 h 960525"/>
                <a:gd name="connsiteX3" fmla="*/ 0 w 5484276"/>
                <a:gd name="connsiteY3" fmla="*/ 960525 h 960525"/>
                <a:gd name="connsiteX4" fmla="*/ 960526 w 5484276"/>
                <a:gd name="connsiteY4" fmla="*/ 0 h 96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276" h="960525">
                  <a:moveTo>
                    <a:pt x="960526" y="0"/>
                  </a:moveTo>
                  <a:lnTo>
                    <a:pt x="5484276" y="0"/>
                  </a:lnTo>
                  <a:lnTo>
                    <a:pt x="4523748" y="960525"/>
                  </a:lnTo>
                  <a:lnTo>
                    <a:pt x="0" y="960525"/>
                  </a:lnTo>
                  <a:lnTo>
                    <a:pt x="960526" y="0"/>
                  </a:lnTo>
                  <a:close/>
                </a:path>
              </a:pathLst>
            </a:custGeom>
            <a:solidFill>
              <a:schemeClr val="bg2">
                <a:lumMod val="95000"/>
              </a:schemeClr>
            </a:solidFill>
            <a:ln w="6350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66" name="Graphic 20">
              <a:extLst>
                <a:ext uri="{FF2B5EF4-FFF2-40B4-BE49-F238E27FC236}">
                  <a16:creationId xmlns:a16="http://schemas.microsoft.com/office/drawing/2014/main" id="{C96C65CD-A667-4E61-B4C1-CF22597EC59F}"/>
                </a:ext>
              </a:extLst>
            </p:cNvPr>
            <p:cNvSpPr/>
            <p:nvPr/>
          </p:nvSpPr>
          <p:spPr>
            <a:xfrm>
              <a:off x="1062005" y="1959109"/>
              <a:ext cx="1052607" cy="438586"/>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6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72" name="Title 2">
              <a:extLst>
                <a:ext uri="{FF2B5EF4-FFF2-40B4-BE49-F238E27FC236}">
                  <a16:creationId xmlns:a16="http://schemas.microsoft.com/office/drawing/2014/main" id="{1BDD5B39-B811-4FFF-B659-011B12BAA771}"/>
                </a:ext>
              </a:extLst>
            </p:cNvPr>
            <p:cNvSpPr txBox="1">
              <a:spLocks/>
            </p:cNvSpPr>
            <p:nvPr/>
          </p:nvSpPr>
          <p:spPr>
            <a:xfrm>
              <a:off x="1343433" y="1917781"/>
              <a:ext cx="436525" cy="464091"/>
            </a:xfrm>
            <a:prstGeom prst="rect">
              <a:avLst/>
            </a:prstGeom>
            <a:ln w="38100">
              <a:noFill/>
            </a:ln>
          </p:spPr>
          <p:txBody>
            <a:bodyPr vert="horz" lIns="0" tIns="0" rIns="0" bIns="0" rtlCol="0" anchor="b">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marL="0" marR="0" lvl="0" indent="-274320" algn="ctr" defTabSz="685800" rtl="0" eaLnBrk="1" fontAlgn="auto" latinLnBrk="0" hangingPunct="1">
                <a:lnSpc>
                  <a:spcPct val="100000"/>
                </a:lnSpc>
                <a:spcBef>
                  <a:spcPct val="0"/>
                </a:spcBef>
                <a:spcAft>
                  <a:spcPts val="0"/>
                </a:spcAft>
                <a:buClrTx/>
                <a:buSzTx/>
                <a:buFontTx/>
                <a:buNone/>
                <a:tabLst/>
                <a:defRPr/>
              </a:pPr>
              <a:r>
                <a:rPr kumimoji="0" lang="uk-UA" sz="2800" b="0" i="0" u="none" strike="noStrike" kern="1200" cap="none" spc="0" normalizeH="0" baseline="0" noProof="0" dirty="0">
                  <a:ln w="19050">
                    <a:noFill/>
                  </a:ln>
                  <a:solidFill>
                    <a:srgbClr val="000000"/>
                  </a:solidFill>
                  <a:effectLst/>
                  <a:uLnTx/>
                  <a:uFillTx/>
                  <a:latin typeface="e-Ukraine Bold"/>
                </a:rPr>
                <a:t>3</a:t>
              </a:r>
              <a:endParaRPr kumimoji="0" lang="en-US" sz="2800" b="0" i="0" u="none" strike="noStrike" kern="1200" cap="none" spc="0" normalizeH="0" baseline="0" noProof="0" dirty="0">
                <a:ln w="19050">
                  <a:noFill/>
                </a:ln>
                <a:solidFill>
                  <a:srgbClr val="000000"/>
                </a:solidFill>
                <a:effectLst/>
                <a:uLnTx/>
                <a:uFillTx/>
                <a:latin typeface="e-Ukraine Bold"/>
              </a:endParaRPr>
            </a:p>
          </p:txBody>
        </p:sp>
        <p:sp>
          <p:nvSpPr>
            <p:cNvPr id="73" name="Title 2">
              <a:extLst>
                <a:ext uri="{FF2B5EF4-FFF2-40B4-BE49-F238E27FC236}">
                  <a16:creationId xmlns:a16="http://schemas.microsoft.com/office/drawing/2014/main" id="{1FEEDB76-D6CC-4185-AE1C-97CC6D7307DF}"/>
                </a:ext>
              </a:extLst>
            </p:cNvPr>
            <p:cNvSpPr txBox="1">
              <a:spLocks/>
            </p:cNvSpPr>
            <p:nvPr/>
          </p:nvSpPr>
          <p:spPr>
            <a:xfrm>
              <a:off x="1939435" y="2132546"/>
              <a:ext cx="4100880" cy="908637"/>
            </a:xfrm>
            <a:prstGeom prst="rect">
              <a:avLst/>
            </a:prstGeom>
            <a:ln w="38100">
              <a:noFill/>
            </a:ln>
          </p:spPr>
          <p:txBody>
            <a:bodyPr vert="horz" lIns="0" tIns="0" rIns="0" bIns="0" rtlCol="0" anchor="t">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r>
                <a:rPr lang="uk-UA" sz="1200" dirty="0" smtClean="0"/>
                <a:t>Директива 2013/34/ЄС Європейського Парламенту та Ради </a:t>
              </a:r>
              <a:br>
                <a:rPr lang="uk-UA" sz="1200" dirty="0" smtClean="0"/>
              </a:br>
              <a:r>
                <a:rPr lang="uk-UA" sz="1200" dirty="0" smtClean="0"/>
                <a:t>від 26 червня 2013 року про річну фінансову звітність, консолідовану фінансову звітність та пов’язану звітність певних типів підприємств</a:t>
              </a:r>
            </a:p>
            <a:p>
              <a:pPr marL="0" marR="0" lvl="0" indent="-274320" algn="l" defTabSz="6858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e-Ukraine UltraLight"/>
              </a:endParaRPr>
            </a:p>
          </p:txBody>
        </p:sp>
      </p:grpSp>
      <p:grpSp>
        <p:nvGrpSpPr>
          <p:cNvPr id="74" name="Group 73">
            <a:extLst>
              <a:ext uri="{FF2B5EF4-FFF2-40B4-BE49-F238E27FC236}">
                <a16:creationId xmlns:a16="http://schemas.microsoft.com/office/drawing/2014/main" id="{0D4D7CD3-D19C-4109-8868-F92C5029AE45}"/>
              </a:ext>
            </a:extLst>
          </p:cNvPr>
          <p:cNvGrpSpPr/>
          <p:nvPr/>
        </p:nvGrpSpPr>
        <p:grpSpPr>
          <a:xfrm>
            <a:off x="6031449" y="3135104"/>
            <a:ext cx="5484276" cy="1193957"/>
            <a:chOff x="731837" y="1917781"/>
            <a:chExt cx="5484276" cy="1193957"/>
          </a:xfrm>
        </p:grpSpPr>
        <p:sp>
          <p:nvSpPr>
            <p:cNvPr id="75" name="Freeform: Shape 74">
              <a:extLst>
                <a:ext uri="{FF2B5EF4-FFF2-40B4-BE49-F238E27FC236}">
                  <a16:creationId xmlns:a16="http://schemas.microsoft.com/office/drawing/2014/main" id="{4466B831-CF4E-45D9-B51F-348C614CEEC7}"/>
                </a:ext>
              </a:extLst>
            </p:cNvPr>
            <p:cNvSpPr/>
            <p:nvPr/>
          </p:nvSpPr>
          <p:spPr>
            <a:xfrm>
              <a:off x="731837" y="2151213"/>
              <a:ext cx="5484276" cy="960525"/>
            </a:xfrm>
            <a:custGeom>
              <a:avLst/>
              <a:gdLst>
                <a:gd name="connsiteX0" fmla="*/ 960526 w 5484276"/>
                <a:gd name="connsiteY0" fmla="*/ 0 h 960525"/>
                <a:gd name="connsiteX1" fmla="*/ 2341651 w 5484276"/>
                <a:gd name="connsiteY1" fmla="*/ 0 h 960525"/>
                <a:gd name="connsiteX2" fmla="*/ 4103151 w 5484276"/>
                <a:gd name="connsiteY2" fmla="*/ 0 h 960525"/>
                <a:gd name="connsiteX3" fmla="*/ 5484276 w 5484276"/>
                <a:gd name="connsiteY3" fmla="*/ 0 h 960525"/>
                <a:gd name="connsiteX4" fmla="*/ 4523748 w 5484276"/>
                <a:gd name="connsiteY4" fmla="*/ 960525 h 960525"/>
                <a:gd name="connsiteX5" fmla="*/ 3142623 w 5484276"/>
                <a:gd name="connsiteY5" fmla="*/ 960525 h 960525"/>
                <a:gd name="connsiteX6" fmla="*/ 1381125 w 5484276"/>
                <a:gd name="connsiteY6" fmla="*/ 960525 h 960525"/>
                <a:gd name="connsiteX7" fmla="*/ 0 w 5484276"/>
                <a:gd name="connsiteY7" fmla="*/ 960525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1381125 w 5484276"/>
                <a:gd name="connsiteY5" fmla="*/ 960525 h 960525"/>
                <a:gd name="connsiteX6" fmla="*/ 0 w 5484276"/>
                <a:gd name="connsiteY6" fmla="*/ 960525 h 960525"/>
                <a:gd name="connsiteX7" fmla="*/ 960526 w 5484276"/>
                <a:gd name="connsiteY7"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0 w 5484276"/>
                <a:gd name="connsiteY5" fmla="*/ 960525 h 960525"/>
                <a:gd name="connsiteX6" fmla="*/ 960526 w 5484276"/>
                <a:gd name="connsiteY6"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0 w 5484276"/>
                <a:gd name="connsiteY4" fmla="*/ 960525 h 960525"/>
                <a:gd name="connsiteX5" fmla="*/ 960526 w 5484276"/>
                <a:gd name="connsiteY5" fmla="*/ 0 h 960525"/>
                <a:gd name="connsiteX0" fmla="*/ 960526 w 5484276"/>
                <a:gd name="connsiteY0" fmla="*/ 0 h 960525"/>
                <a:gd name="connsiteX1" fmla="*/ 5484276 w 5484276"/>
                <a:gd name="connsiteY1" fmla="*/ 0 h 960525"/>
                <a:gd name="connsiteX2" fmla="*/ 4523748 w 5484276"/>
                <a:gd name="connsiteY2" fmla="*/ 960525 h 960525"/>
                <a:gd name="connsiteX3" fmla="*/ 0 w 5484276"/>
                <a:gd name="connsiteY3" fmla="*/ 960525 h 960525"/>
                <a:gd name="connsiteX4" fmla="*/ 960526 w 5484276"/>
                <a:gd name="connsiteY4" fmla="*/ 0 h 96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276" h="960525">
                  <a:moveTo>
                    <a:pt x="960526" y="0"/>
                  </a:moveTo>
                  <a:lnTo>
                    <a:pt x="5484276" y="0"/>
                  </a:lnTo>
                  <a:lnTo>
                    <a:pt x="4523748" y="960525"/>
                  </a:lnTo>
                  <a:lnTo>
                    <a:pt x="0" y="960525"/>
                  </a:lnTo>
                  <a:lnTo>
                    <a:pt x="960526" y="0"/>
                  </a:lnTo>
                  <a:close/>
                </a:path>
              </a:pathLst>
            </a:custGeom>
            <a:solidFill>
              <a:schemeClr val="bg2">
                <a:lumMod val="95000"/>
              </a:schemeClr>
            </a:solidFill>
            <a:ln w="6350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76" name="Graphic 20">
              <a:extLst>
                <a:ext uri="{FF2B5EF4-FFF2-40B4-BE49-F238E27FC236}">
                  <a16:creationId xmlns:a16="http://schemas.microsoft.com/office/drawing/2014/main" id="{A45A3325-7C9D-4ABE-8558-2C64874BC316}"/>
                </a:ext>
              </a:extLst>
            </p:cNvPr>
            <p:cNvSpPr/>
            <p:nvPr/>
          </p:nvSpPr>
          <p:spPr>
            <a:xfrm>
              <a:off x="1062005" y="1959109"/>
              <a:ext cx="1052607" cy="438586"/>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6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77" name="Title 2">
              <a:extLst>
                <a:ext uri="{FF2B5EF4-FFF2-40B4-BE49-F238E27FC236}">
                  <a16:creationId xmlns:a16="http://schemas.microsoft.com/office/drawing/2014/main" id="{11375A45-6F83-422D-AA1A-79B241477DE2}"/>
                </a:ext>
              </a:extLst>
            </p:cNvPr>
            <p:cNvSpPr txBox="1">
              <a:spLocks/>
            </p:cNvSpPr>
            <p:nvPr/>
          </p:nvSpPr>
          <p:spPr>
            <a:xfrm>
              <a:off x="1343433" y="1917781"/>
              <a:ext cx="436525" cy="464091"/>
            </a:xfrm>
            <a:prstGeom prst="rect">
              <a:avLst/>
            </a:prstGeom>
            <a:ln w="38100">
              <a:noFill/>
            </a:ln>
          </p:spPr>
          <p:txBody>
            <a:bodyPr vert="horz" lIns="0" tIns="0" rIns="0" bIns="0" rtlCol="0" anchor="b">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marL="0" marR="0" lvl="0" indent="-274320" algn="ctr" defTabSz="685800" rtl="0" eaLnBrk="1" fontAlgn="auto" latinLnBrk="0" hangingPunct="1">
                <a:lnSpc>
                  <a:spcPct val="100000"/>
                </a:lnSpc>
                <a:spcBef>
                  <a:spcPct val="0"/>
                </a:spcBef>
                <a:spcAft>
                  <a:spcPts val="0"/>
                </a:spcAft>
                <a:buClrTx/>
                <a:buSzTx/>
                <a:buFontTx/>
                <a:buNone/>
                <a:tabLst/>
                <a:defRPr/>
              </a:pPr>
              <a:r>
                <a:rPr kumimoji="0" lang="uk-UA" sz="2800" b="0" i="0" u="none" strike="noStrike" kern="1200" cap="none" spc="0" normalizeH="0" baseline="0" noProof="0" dirty="0">
                  <a:ln w="19050">
                    <a:noFill/>
                  </a:ln>
                  <a:solidFill>
                    <a:srgbClr val="000000"/>
                  </a:solidFill>
                  <a:effectLst/>
                  <a:uLnTx/>
                  <a:uFillTx/>
                  <a:latin typeface="e-Ukraine Bold"/>
                </a:rPr>
                <a:t>4</a:t>
              </a:r>
              <a:endParaRPr kumimoji="0" lang="en-US" sz="2800" b="0" i="0" u="none" strike="noStrike" kern="1200" cap="none" spc="0" normalizeH="0" baseline="0" noProof="0" dirty="0">
                <a:ln w="19050">
                  <a:noFill/>
                </a:ln>
                <a:solidFill>
                  <a:srgbClr val="000000"/>
                </a:solidFill>
                <a:effectLst/>
                <a:uLnTx/>
                <a:uFillTx/>
                <a:latin typeface="e-Ukraine Bold"/>
              </a:endParaRPr>
            </a:p>
          </p:txBody>
        </p:sp>
        <p:sp>
          <p:nvSpPr>
            <p:cNvPr id="78" name="Title 2">
              <a:extLst>
                <a:ext uri="{FF2B5EF4-FFF2-40B4-BE49-F238E27FC236}">
                  <a16:creationId xmlns:a16="http://schemas.microsoft.com/office/drawing/2014/main" id="{6D9D09DD-3DB4-4597-8CEA-DD047DFA0493}"/>
                </a:ext>
              </a:extLst>
            </p:cNvPr>
            <p:cNvSpPr txBox="1">
              <a:spLocks/>
            </p:cNvSpPr>
            <p:nvPr/>
          </p:nvSpPr>
          <p:spPr>
            <a:xfrm>
              <a:off x="1939435" y="2094375"/>
              <a:ext cx="4138199" cy="814923"/>
            </a:xfrm>
            <a:prstGeom prst="rect">
              <a:avLst/>
            </a:prstGeom>
            <a:ln w="38100">
              <a:noFill/>
            </a:ln>
          </p:spPr>
          <p:txBody>
            <a:bodyPr vert="horz" lIns="0" tIns="0" rIns="0" bIns="0" rtlCol="0" anchor="t">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r>
                <a:rPr lang="uk-UA" sz="1200" dirty="0"/>
                <a:t>Директива 2006/43/ЄС Європейського Парламенту та Ради </a:t>
              </a:r>
              <a:r>
                <a:rPr lang="uk-UA" sz="1200" dirty="0" smtClean="0"/>
                <a:t>від </a:t>
              </a:r>
              <a:r>
                <a:rPr lang="uk-UA" sz="1200" dirty="0"/>
                <a:t>17 травня 2006 року про обов’язковий аудит річної звітності та консолідованої звітності, що вносить зміни до Директив Ради 78/660/ЄЕС та 83/349/ЄЕС і припиняє дію Директиви Ради </a:t>
              </a:r>
              <a:r>
                <a:rPr lang="uk-UA" sz="1200" dirty="0" smtClean="0"/>
                <a:t>84/253/ЄЕС</a:t>
              </a:r>
              <a:endParaRPr lang="uk-UA" sz="1200" dirty="0"/>
            </a:p>
          </p:txBody>
        </p:sp>
      </p:grpSp>
      <p:grpSp>
        <p:nvGrpSpPr>
          <p:cNvPr id="79" name="Group 78">
            <a:extLst>
              <a:ext uri="{FF2B5EF4-FFF2-40B4-BE49-F238E27FC236}">
                <a16:creationId xmlns:a16="http://schemas.microsoft.com/office/drawing/2014/main" id="{3B9DF558-8E60-4717-BCAA-EDAD18F16D6D}"/>
              </a:ext>
            </a:extLst>
          </p:cNvPr>
          <p:cNvGrpSpPr/>
          <p:nvPr/>
        </p:nvGrpSpPr>
        <p:grpSpPr>
          <a:xfrm>
            <a:off x="731837" y="4876800"/>
            <a:ext cx="5484276" cy="1193957"/>
            <a:chOff x="731837" y="1917781"/>
            <a:chExt cx="5484276" cy="1193957"/>
          </a:xfrm>
        </p:grpSpPr>
        <p:sp>
          <p:nvSpPr>
            <p:cNvPr id="80" name="Freeform: Shape 79">
              <a:extLst>
                <a:ext uri="{FF2B5EF4-FFF2-40B4-BE49-F238E27FC236}">
                  <a16:creationId xmlns:a16="http://schemas.microsoft.com/office/drawing/2014/main" id="{98433DB6-E0CE-4E67-AEED-E5C300BA8EAB}"/>
                </a:ext>
              </a:extLst>
            </p:cNvPr>
            <p:cNvSpPr/>
            <p:nvPr/>
          </p:nvSpPr>
          <p:spPr>
            <a:xfrm>
              <a:off x="731837" y="2151213"/>
              <a:ext cx="5484276" cy="960525"/>
            </a:xfrm>
            <a:custGeom>
              <a:avLst/>
              <a:gdLst>
                <a:gd name="connsiteX0" fmla="*/ 960526 w 5484276"/>
                <a:gd name="connsiteY0" fmla="*/ 0 h 960525"/>
                <a:gd name="connsiteX1" fmla="*/ 2341651 w 5484276"/>
                <a:gd name="connsiteY1" fmla="*/ 0 h 960525"/>
                <a:gd name="connsiteX2" fmla="*/ 4103151 w 5484276"/>
                <a:gd name="connsiteY2" fmla="*/ 0 h 960525"/>
                <a:gd name="connsiteX3" fmla="*/ 5484276 w 5484276"/>
                <a:gd name="connsiteY3" fmla="*/ 0 h 960525"/>
                <a:gd name="connsiteX4" fmla="*/ 4523748 w 5484276"/>
                <a:gd name="connsiteY4" fmla="*/ 960525 h 960525"/>
                <a:gd name="connsiteX5" fmla="*/ 3142623 w 5484276"/>
                <a:gd name="connsiteY5" fmla="*/ 960525 h 960525"/>
                <a:gd name="connsiteX6" fmla="*/ 1381125 w 5484276"/>
                <a:gd name="connsiteY6" fmla="*/ 960525 h 960525"/>
                <a:gd name="connsiteX7" fmla="*/ 0 w 5484276"/>
                <a:gd name="connsiteY7" fmla="*/ 960525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1381125 w 5484276"/>
                <a:gd name="connsiteY5" fmla="*/ 960525 h 960525"/>
                <a:gd name="connsiteX6" fmla="*/ 0 w 5484276"/>
                <a:gd name="connsiteY6" fmla="*/ 960525 h 960525"/>
                <a:gd name="connsiteX7" fmla="*/ 960526 w 5484276"/>
                <a:gd name="connsiteY7"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3142623 w 5484276"/>
                <a:gd name="connsiteY4" fmla="*/ 960525 h 960525"/>
                <a:gd name="connsiteX5" fmla="*/ 0 w 5484276"/>
                <a:gd name="connsiteY5" fmla="*/ 960525 h 960525"/>
                <a:gd name="connsiteX6" fmla="*/ 960526 w 5484276"/>
                <a:gd name="connsiteY6" fmla="*/ 0 h 960525"/>
                <a:gd name="connsiteX0" fmla="*/ 960526 w 5484276"/>
                <a:gd name="connsiteY0" fmla="*/ 0 h 960525"/>
                <a:gd name="connsiteX1" fmla="*/ 4103151 w 5484276"/>
                <a:gd name="connsiteY1" fmla="*/ 0 h 960525"/>
                <a:gd name="connsiteX2" fmla="*/ 5484276 w 5484276"/>
                <a:gd name="connsiteY2" fmla="*/ 0 h 960525"/>
                <a:gd name="connsiteX3" fmla="*/ 4523748 w 5484276"/>
                <a:gd name="connsiteY3" fmla="*/ 960525 h 960525"/>
                <a:gd name="connsiteX4" fmla="*/ 0 w 5484276"/>
                <a:gd name="connsiteY4" fmla="*/ 960525 h 960525"/>
                <a:gd name="connsiteX5" fmla="*/ 960526 w 5484276"/>
                <a:gd name="connsiteY5" fmla="*/ 0 h 960525"/>
                <a:gd name="connsiteX0" fmla="*/ 960526 w 5484276"/>
                <a:gd name="connsiteY0" fmla="*/ 0 h 960525"/>
                <a:gd name="connsiteX1" fmla="*/ 5484276 w 5484276"/>
                <a:gd name="connsiteY1" fmla="*/ 0 h 960525"/>
                <a:gd name="connsiteX2" fmla="*/ 4523748 w 5484276"/>
                <a:gd name="connsiteY2" fmla="*/ 960525 h 960525"/>
                <a:gd name="connsiteX3" fmla="*/ 0 w 5484276"/>
                <a:gd name="connsiteY3" fmla="*/ 960525 h 960525"/>
                <a:gd name="connsiteX4" fmla="*/ 960526 w 5484276"/>
                <a:gd name="connsiteY4" fmla="*/ 0 h 96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276" h="960525">
                  <a:moveTo>
                    <a:pt x="960526" y="0"/>
                  </a:moveTo>
                  <a:lnTo>
                    <a:pt x="5484276" y="0"/>
                  </a:lnTo>
                  <a:lnTo>
                    <a:pt x="4523748" y="960525"/>
                  </a:lnTo>
                  <a:lnTo>
                    <a:pt x="0" y="960525"/>
                  </a:lnTo>
                  <a:lnTo>
                    <a:pt x="960526" y="0"/>
                  </a:lnTo>
                  <a:close/>
                </a:path>
              </a:pathLst>
            </a:custGeom>
            <a:solidFill>
              <a:schemeClr val="bg2">
                <a:lumMod val="95000"/>
              </a:schemeClr>
            </a:solidFill>
            <a:ln w="6350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81" name="Graphic 20">
              <a:extLst>
                <a:ext uri="{FF2B5EF4-FFF2-40B4-BE49-F238E27FC236}">
                  <a16:creationId xmlns:a16="http://schemas.microsoft.com/office/drawing/2014/main" id="{17B6C6FD-1DDF-47F1-BD23-6ECDF07F434E}"/>
                </a:ext>
              </a:extLst>
            </p:cNvPr>
            <p:cNvSpPr/>
            <p:nvPr/>
          </p:nvSpPr>
          <p:spPr>
            <a:xfrm>
              <a:off x="1062005" y="1959109"/>
              <a:ext cx="1052607" cy="438586"/>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6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srgbClr val="000000"/>
                </a:solidFill>
                <a:effectLst/>
                <a:uLnTx/>
                <a:uFillTx/>
                <a:latin typeface="e-Ukraine UltraLight"/>
              </a:endParaRPr>
            </a:p>
          </p:txBody>
        </p:sp>
        <p:sp>
          <p:nvSpPr>
            <p:cNvPr id="82" name="Title 2">
              <a:extLst>
                <a:ext uri="{FF2B5EF4-FFF2-40B4-BE49-F238E27FC236}">
                  <a16:creationId xmlns:a16="http://schemas.microsoft.com/office/drawing/2014/main" id="{E88B0440-330D-472A-9C45-AC5DB1EA6EBF}"/>
                </a:ext>
              </a:extLst>
            </p:cNvPr>
            <p:cNvSpPr txBox="1">
              <a:spLocks/>
            </p:cNvSpPr>
            <p:nvPr/>
          </p:nvSpPr>
          <p:spPr>
            <a:xfrm>
              <a:off x="1343433" y="1917781"/>
              <a:ext cx="436525" cy="464091"/>
            </a:xfrm>
            <a:prstGeom prst="rect">
              <a:avLst/>
            </a:prstGeom>
            <a:ln w="38100">
              <a:noFill/>
            </a:ln>
          </p:spPr>
          <p:txBody>
            <a:bodyPr vert="horz" lIns="0" tIns="0" rIns="0" bIns="0" rtlCol="0" anchor="b">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marL="0" marR="0" lvl="0" indent="-274320" algn="ctr" defTabSz="685800" rtl="0" eaLnBrk="1" fontAlgn="auto" latinLnBrk="0" hangingPunct="1">
                <a:lnSpc>
                  <a:spcPct val="100000"/>
                </a:lnSpc>
                <a:spcBef>
                  <a:spcPct val="0"/>
                </a:spcBef>
                <a:spcAft>
                  <a:spcPts val="0"/>
                </a:spcAft>
                <a:buClrTx/>
                <a:buSzTx/>
                <a:buFontTx/>
                <a:buNone/>
                <a:tabLst/>
                <a:defRPr/>
              </a:pPr>
              <a:r>
                <a:rPr kumimoji="0" lang="uk-UA" sz="2800" b="0" i="0" u="none" strike="noStrike" kern="1200" cap="none" spc="0" normalizeH="0" baseline="0" noProof="0" dirty="0">
                  <a:ln w="19050">
                    <a:noFill/>
                  </a:ln>
                  <a:solidFill>
                    <a:srgbClr val="000000"/>
                  </a:solidFill>
                  <a:effectLst/>
                  <a:uLnTx/>
                  <a:uFillTx/>
                  <a:latin typeface="e-Ukraine Bold"/>
                </a:rPr>
                <a:t>5</a:t>
              </a:r>
              <a:endParaRPr kumimoji="0" lang="en-US" sz="2800" b="0" i="0" u="none" strike="noStrike" kern="1200" cap="none" spc="0" normalizeH="0" baseline="0" noProof="0" dirty="0">
                <a:ln w="19050">
                  <a:noFill/>
                </a:ln>
                <a:solidFill>
                  <a:srgbClr val="000000"/>
                </a:solidFill>
                <a:effectLst/>
                <a:uLnTx/>
                <a:uFillTx/>
                <a:latin typeface="e-Ukraine Bold"/>
              </a:endParaRPr>
            </a:p>
          </p:txBody>
        </p:sp>
        <p:sp>
          <p:nvSpPr>
            <p:cNvPr id="83" name="Title 2">
              <a:extLst>
                <a:ext uri="{FF2B5EF4-FFF2-40B4-BE49-F238E27FC236}">
                  <a16:creationId xmlns:a16="http://schemas.microsoft.com/office/drawing/2014/main" id="{01F16849-6A02-4522-8D01-233D75C8EDEC}"/>
                </a:ext>
              </a:extLst>
            </p:cNvPr>
            <p:cNvSpPr txBox="1">
              <a:spLocks/>
            </p:cNvSpPr>
            <p:nvPr/>
          </p:nvSpPr>
          <p:spPr>
            <a:xfrm>
              <a:off x="1939435" y="2158104"/>
              <a:ext cx="4267934" cy="883079"/>
            </a:xfrm>
            <a:prstGeom prst="rect">
              <a:avLst/>
            </a:prstGeom>
            <a:ln w="38100">
              <a:noFill/>
            </a:ln>
          </p:spPr>
          <p:txBody>
            <a:bodyPr vert="horz" lIns="0" tIns="0" rIns="0" bIns="0" rtlCol="0" anchor="t">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r>
                <a:rPr lang="uk-UA" sz="1200" dirty="0"/>
                <a:t>Регламент (ЄС) 537/2014 Європейського Парламенту та Ради </a:t>
              </a:r>
              <a:r>
                <a:rPr lang="uk-UA" sz="1200" dirty="0" smtClean="0"/>
                <a:t>від </a:t>
              </a:r>
              <a:r>
                <a:rPr lang="uk-UA" sz="1200" dirty="0"/>
                <a:t>16 квітня 2014 року про конкретні вимоги </a:t>
              </a:r>
              <a:r>
                <a:rPr lang="uk-UA" sz="1200" dirty="0" smtClean="0"/>
                <a:t>стосовно обов’язкового </a:t>
              </a:r>
              <a:r>
                <a:rPr lang="uk-UA" sz="1200" dirty="0"/>
                <a:t>аудиту суспільно значимих суб’єктів господарювання та який припиняє дію Рішення Комісії </a:t>
              </a:r>
              <a:r>
                <a:rPr lang="uk-UA" sz="1200" dirty="0" smtClean="0"/>
                <a:t>2005/909/ЄС</a:t>
              </a:r>
              <a:endParaRPr lang="uk-UA" sz="1200" dirty="0"/>
            </a:p>
          </p:txBody>
        </p:sp>
      </p:grpSp>
      <p:sp>
        <p:nvSpPr>
          <p:cNvPr id="34" name="Slide Number Placeholder 8">
            <a:extLst>
              <a:ext uri="{FF2B5EF4-FFF2-40B4-BE49-F238E27FC236}">
                <a16:creationId xmlns:a16="http://schemas.microsoft.com/office/drawing/2014/main" id="{782EDB20-E57E-410F-BE5C-3EDE229ECC81}"/>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BEF9EAC-A834-4079-97F3-DDD7E59C4475}" type="slidenum">
              <a:rPr kumimoji="0" lang="uk-UA" sz="900" b="0" i="0" u="none" strike="noStrike" kern="1200" cap="none" spc="0" normalizeH="0" baseline="0" noProof="0" smtClean="0">
                <a:ln>
                  <a:noFill/>
                </a:ln>
                <a:solidFill>
                  <a:srgbClr val="000000"/>
                </a:solidFill>
                <a:effectLst/>
                <a:uLnTx/>
                <a:uFillTx/>
                <a:latin typeface="e-Ukraine UltraLight"/>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uk-UA" sz="900" b="0" i="0" u="none" strike="noStrike" kern="1200" cap="none" spc="0" normalizeH="0" baseline="0" noProof="0" dirty="0">
              <a:ln>
                <a:noFill/>
              </a:ln>
              <a:solidFill>
                <a:srgbClr val="000000"/>
              </a:solidFill>
              <a:effectLst/>
              <a:uLnTx/>
              <a:uFillTx/>
              <a:latin typeface="e-Ukraine UltraLight"/>
            </a:endParaRPr>
          </a:p>
        </p:txBody>
      </p:sp>
    </p:spTree>
    <p:extLst>
      <p:ext uri="{BB962C8B-B14F-4D97-AF65-F5344CB8AC3E}">
        <p14:creationId xmlns:p14="http://schemas.microsoft.com/office/powerpoint/2010/main" val="3889081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oogle Shape;508;p24">
            <a:extLst>
              <a:ext uri="{FF2B5EF4-FFF2-40B4-BE49-F238E27FC236}">
                <a16:creationId xmlns:a16="http://schemas.microsoft.com/office/drawing/2014/main" id="{40FD40C9-9E96-46A1-8FDA-E43C26A2C005}"/>
              </a:ext>
            </a:extLst>
          </p:cNvPr>
          <p:cNvGrpSpPr/>
          <p:nvPr/>
        </p:nvGrpSpPr>
        <p:grpSpPr>
          <a:xfrm>
            <a:off x="6111460" y="1047561"/>
            <a:ext cx="6080540" cy="5810439"/>
            <a:chOff x="1030450" y="238125"/>
            <a:chExt cx="5548050" cy="5301603"/>
          </a:xfrm>
          <a:solidFill>
            <a:srgbClr val="FFCD2F"/>
          </a:solidFill>
        </p:grpSpPr>
        <p:sp>
          <p:nvSpPr>
            <p:cNvPr id="7" name="Google Shape;509;p24">
              <a:extLst>
                <a:ext uri="{FF2B5EF4-FFF2-40B4-BE49-F238E27FC236}">
                  <a16:creationId xmlns:a16="http://schemas.microsoft.com/office/drawing/2014/main" id="{2886C0D5-6813-4F9D-8613-EAC10FBAE73E}"/>
                </a:ext>
              </a:extLst>
            </p:cNvPr>
            <p:cNvSpPr/>
            <p:nvPr/>
          </p:nvSpPr>
          <p:spPr>
            <a:xfrm>
              <a:off x="4093200" y="4460325"/>
              <a:ext cx="645975" cy="729825"/>
            </a:xfrm>
            <a:custGeom>
              <a:avLst/>
              <a:gdLst/>
              <a:ahLst/>
              <a:cxnLst/>
              <a:rect l="l" t="t" r="r" b="b"/>
              <a:pathLst>
                <a:path w="25839" h="29193" extrusionOk="0">
                  <a:moveTo>
                    <a:pt x="19837" y="1"/>
                  </a:moveTo>
                  <a:cubicBezTo>
                    <a:pt x="19474" y="1"/>
                    <a:pt x="18705" y="154"/>
                    <a:pt x="17196" y="473"/>
                  </a:cubicBezTo>
                  <a:cubicBezTo>
                    <a:pt x="16258" y="674"/>
                    <a:pt x="14890" y="971"/>
                    <a:pt x="14616" y="971"/>
                  </a:cubicBezTo>
                  <a:cubicBezTo>
                    <a:pt x="14601" y="971"/>
                    <a:pt x="14589" y="970"/>
                    <a:pt x="14581" y="968"/>
                  </a:cubicBezTo>
                  <a:cubicBezTo>
                    <a:pt x="14245" y="1233"/>
                    <a:pt x="12831" y="2311"/>
                    <a:pt x="12690" y="2470"/>
                  </a:cubicBezTo>
                  <a:cubicBezTo>
                    <a:pt x="12632" y="2503"/>
                    <a:pt x="12430" y="2517"/>
                    <a:pt x="12085" y="2517"/>
                  </a:cubicBezTo>
                  <a:cubicBezTo>
                    <a:pt x="11689" y="2517"/>
                    <a:pt x="11105" y="2499"/>
                    <a:pt x="10339" y="2470"/>
                  </a:cubicBezTo>
                  <a:lnTo>
                    <a:pt x="10039" y="2453"/>
                  </a:lnTo>
                  <a:cubicBezTo>
                    <a:pt x="9897" y="2453"/>
                    <a:pt x="9827" y="2594"/>
                    <a:pt x="9668" y="2965"/>
                  </a:cubicBezTo>
                  <a:cubicBezTo>
                    <a:pt x="9544" y="3248"/>
                    <a:pt x="9314" y="3743"/>
                    <a:pt x="9155" y="3743"/>
                  </a:cubicBezTo>
                  <a:cubicBezTo>
                    <a:pt x="8802" y="3743"/>
                    <a:pt x="6027" y="4167"/>
                    <a:pt x="5497" y="4238"/>
                  </a:cubicBezTo>
                  <a:cubicBezTo>
                    <a:pt x="5497" y="4556"/>
                    <a:pt x="5055" y="7790"/>
                    <a:pt x="4790" y="8197"/>
                  </a:cubicBezTo>
                  <a:cubicBezTo>
                    <a:pt x="4648" y="8391"/>
                    <a:pt x="4348" y="8391"/>
                    <a:pt x="4030" y="8391"/>
                  </a:cubicBezTo>
                  <a:cubicBezTo>
                    <a:pt x="3765" y="8391"/>
                    <a:pt x="3517" y="8391"/>
                    <a:pt x="3358" y="8515"/>
                  </a:cubicBezTo>
                  <a:cubicBezTo>
                    <a:pt x="3146" y="8744"/>
                    <a:pt x="2369" y="10335"/>
                    <a:pt x="2068" y="10635"/>
                  </a:cubicBezTo>
                  <a:cubicBezTo>
                    <a:pt x="2068" y="10635"/>
                    <a:pt x="1450" y="10158"/>
                    <a:pt x="1238" y="9964"/>
                  </a:cubicBezTo>
                  <a:cubicBezTo>
                    <a:pt x="1151" y="9878"/>
                    <a:pt x="975" y="9839"/>
                    <a:pt x="782" y="9839"/>
                  </a:cubicBezTo>
                  <a:cubicBezTo>
                    <a:pt x="420" y="9839"/>
                    <a:pt x="0" y="9975"/>
                    <a:pt x="0" y="10194"/>
                  </a:cubicBezTo>
                  <a:cubicBezTo>
                    <a:pt x="0" y="10547"/>
                    <a:pt x="654" y="11077"/>
                    <a:pt x="1096" y="11802"/>
                  </a:cubicBezTo>
                  <a:cubicBezTo>
                    <a:pt x="1414" y="12350"/>
                    <a:pt x="1998" y="12685"/>
                    <a:pt x="2616" y="12685"/>
                  </a:cubicBezTo>
                  <a:cubicBezTo>
                    <a:pt x="3093" y="12685"/>
                    <a:pt x="4949" y="14400"/>
                    <a:pt x="5108" y="14559"/>
                  </a:cubicBezTo>
                  <a:cubicBezTo>
                    <a:pt x="5249" y="14700"/>
                    <a:pt x="4189" y="15230"/>
                    <a:pt x="4189" y="15937"/>
                  </a:cubicBezTo>
                  <a:cubicBezTo>
                    <a:pt x="4189" y="16662"/>
                    <a:pt x="3606" y="16856"/>
                    <a:pt x="3606" y="17369"/>
                  </a:cubicBezTo>
                  <a:cubicBezTo>
                    <a:pt x="3606" y="17881"/>
                    <a:pt x="2757" y="19313"/>
                    <a:pt x="3447" y="19313"/>
                  </a:cubicBezTo>
                  <a:cubicBezTo>
                    <a:pt x="4118" y="19313"/>
                    <a:pt x="4825" y="20197"/>
                    <a:pt x="4631" y="20727"/>
                  </a:cubicBezTo>
                  <a:cubicBezTo>
                    <a:pt x="4507" y="21045"/>
                    <a:pt x="5214" y="21858"/>
                    <a:pt x="5408" y="21858"/>
                  </a:cubicBezTo>
                  <a:cubicBezTo>
                    <a:pt x="5620" y="21858"/>
                    <a:pt x="6027" y="21787"/>
                    <a:pt x="6027" y="21540"/>
                  </a:cubicBezTo>
                  <a:cubicBezTo>
                    <a:pt x="5956" y="21151"/>
                    <a:pt x="5780" y="20762"/>
                    <a:pt x="5514" y="20462"/>
                  </a:cubicBezTo>
                  <a:cubicBezTo>
                    <a:pt x="5249" y="20214"/>
                    <a:pt x="5709" y="18906"/>
                    <a:pt x="5709" y="18359"/>
                  </a:cubicBezTo>
                  <a:cubicBezTo>
                    <a:pt x="5709" y="17811"/>
                    <a:pt x="5073" y="17440"/>
                    <a:pt x="5073" y="17227"/>
                  </a:cubicBezTo>
                  <a:cubicBezTo>
                    <a:pt x="5073" y="17055"/>
                    <a:pt x="5933" y="16453"/>
                    <a:pt x="6264" y="16453"/>
                  </a:cubicBezTo>
                  <a:cubicBezTo>
                    <a:pt x="6307" y="16453"/>
                    <a:pt x="6341" y="16463"/>
                    <a:pt x="6363" y="16485"/>
                  </a:cubicBezTo>
                  <a:cubicBezTo>
                    <a:pt x="6539" y="16680"/>
                    <a:pt x="6999" y="17740"/>
                    <a:pt x="7140" y="17881"/>
                  </a:cubicBezTo>
                  <a:cubicBezTo>
                    <a:pt x="7178" y="17919"/>
                    <a:pt x="7343" y="17929"/>
                    <a:pt x="7563" y="17929"/>
                  </a:cubicBezTo>
                  <a:cubicBezTo>
                    <a:pt x="7803" y="17929"/>
                    <a:pt x="8108" y="17918"/>
                    <a:pt x="8388" y="17918"/>
                  </a:cubicBezTo>
                  <a:cubicBezTo>
                    <a:pt x="8809" y="17918"/>
                    <a:pt x="9173" y="17944"/>
                    <a:pt x="9173" y="18076"/>
                  </a:cubicBezTo>
                  <a:cubicBezTo>
                    <a:pt x="9173" y="18394"/>
                    <a:pt x="8678" y="18394"/>
                    <a:pt x="8395" y="18394"/>
                  </a:cubicBezTo>
                  <a:cubicBezTo>
                    <a:pt x="8130" y="18394"/>
                    <a:pt x="6875" y="20532"/>
                    <a:pt x="6875" y="20797"/>
                  </a:cubicBezTo>
                  <a:cubicBezTo>
                    <a:pt x="6875" y="21080"/>
                    <a:pt x="8271" y="22300"/>
                    <a:pt x="8607" y="22300"/>
                  </a:cubicBezTo>
                  <a:cubicBezTo>
                    <a:pt x="8943" y="22300"/>
                    <a:pt x="9385" y="23625"/>
                    <a:pt x="9084" y="23625"/>
                  </a:cubicBezTo>
                  <a:cubicBezTo>
                    <a:pt x="8766" y="23625"/>
                    <a:pt x="8643" y="24633"/>
                    <a:pt x="8643" y="25074"/>
                  </a:cubicBezTo>
                  <a:cubicBezTo>
                    <a:pt x="8643" y="25516"/>
                    <a:pt x="10056" y="26842"/>
                    <a:pt x="10198" y="26842"/>
                  </a:cubicBezTo>
                  <a:cubicBezTo>
                    <a:pt x="10339" y="26842"/>
                    <a:pt x="10498" y="25074"/>
                    <a:pt x="10781" y="25074"/>
                  </a:cubicBezTo>
                  <a:cubicBezTo>
                    <a:pt x="11046" y="25074"/>
                    <a:pt x="11983" y="27071"/>
                    <a:pt x="12124" y="27549"/>
                  </a:cubicBezTo>
                  <a:cubicBezTo>
                    <a:pt x="12283" y="27973"/>
                    <a:pt x="12637" y="28273"/>
                    <a:pt x="13096" y="28379"/>
                  </a:cubicBezTo>
                  <a:cubicBezTo>
                    <a:pt x="13326" y="28379"/>
                    <a:pt x="13291" y="26276"/>
                    <a:pt x="13662" y="26276"/>
                  </a:cubicBezTo>
                  <a:cubicBezTo>
                    <a:pt x="14033" y="26276"/>
                    <a:pt x="14687" y="27937"/>
                    <a:pt x="14687" y="28273"/>
                  </a:cubicBezTo>
                  <a:cubicBezTo>
                    <a:pt x="14687" y="28609"/>
                    <a:pt x="14917" y="29192"/>
                    <a:pt x="15199" y="29192"/>
                  </a:cubicBezTo>
                  <a:cubicBezTo>
                    <a:pt x="15464" y="29192"/>
                    <a:pt x="15783" y="28026"/>
                    <a:pt x="15429" y="27655"/>
                  </a:cubicBezTo>
                  <a:cubicBezTo>
                    <a:pt x="15076" y="27301"/>
                    <a:pt x="15323" y="25286"/>
                    <a:pt x="15323" y="24845"/>
                  </a:cubicBezTo>
                  <a:cubicBezTo>
                    <a:pt x="15323" y="24403"/>
                    <a:pt x="14545" y="23749"/>
                    <a:pt x="14245" y="23448"/>
                  </a:cubicBezTo>
                  <a:cubicBezTo>
                    <a:pt x="13945" y="23148"/>
                    <a:pt x="14139" y="22194"/>
                    <a:pt x="14616" y="22194"/>
                  </a:cubicBezTo>
                  <a:cubicBezTo>
                    <a:pt x="15093" y="22194"/>
                    <a:pt x="15641" y="22848"/>
                    <a:pt x="15942" y="22848"/>
                  </a:cubicBezTo>
                  <a:cubicBezTo>
                    <a:pt x="16242" y="22848"/>
                    <a:pt x="16931" y="22088"/>
                    <a:pt x="16931" y="21752"/>
                  </a:cubicBezTo>
                  <a:cubicBezTo>
                    <a:pt x="16931" y="21416"/>
                    <a:pt x="15730" y="21557"/>
                    <a:pt x="15500" y="21345"/>
                  </a:cubicBezTo>
                  <a:cubicBezTo>
                    <a:pt x="15270" y="21010"/>
                    <a:pt x="15270" y="20585"/>
                    <a:pt x="15500" y="20250"/>
                  </a:cubicBezTo>
                  <a:cubicBezTo>
                    <a:pt x="15628" y="20130"/>
                    <a:pt x="16082" y="20101"/>
                    <a:pt x="16545" y="20101"/>
                  </a:cubicBezTo>
                  <a:cubicBezTo>
                    <a:pt x="16972" y="20101"/>
                    <a:pt x="17408" y="20126"/>
                    <a:pt x="17603" y="20126"/>
                  </a:cubicBezTo>
                  <a:cubicBezTo>
                    <a:pt x="18009" y="20126"/>
                    <a:pt x="18928" y="21080"/>
                    <a:pt x="19335" y="21080"/>
                  </a:cubicBezTo>
                  <a:cubicBezTo>
                    <a:pt x="19741" y="21080"/>
                    <a:pt x="19034" y="19065"/>
                    <a:pt x="19688" y="19065"/>
                  </a:cubicBezTo>
                  <a:cubicBezTo>
                    <a:pt x="20325" y="19065"/>
                    <a:pt x="23417" y="21363"/>
                    <a:pt x="23718" y="21681"/>
                  </a:cubicBezTo>
                  <a:cubicBezTo>
                    <a:pt x="23785" y="21752"/>
                    <a:pt x="23875" y="21781"/>
                    <a:pt x="23972" y="21781"/>
                  </a:cubicBezTo>
                  <a:cubicBezTo>
                    <a:pt x="24311" y="21781"/>
                    <a:pt x="24739" y="21433"/>
                    <a:pt x="24601" y="21310"/>
                  </a:cubicBezTo>
                  <a:cubicBezTo>
                    <a:pt x="24442" y="21133"/>
                    <a:pt x="23930" y="20144"/>
                    <a:pt x="23276" y="19613"/>
                  </a:cubicBezTo>
                  <a:cubicBezTo>
                    <a:pt x="22640" y="19065"/>
                    <a:pt x="21031" y="18412"/>
                    <a:pt x="20660" y="18040"/>
                  </a:cubicBezTo>
                  <a:cubicBezTo>
                    <a:pt x="20289" y="17669"/>
                    <a:pt x="20289" y="16591"/>
                    <a:pt x="20024" y="16308"/>
                  </a:cubicBezTo>
                  <a:cubicBezTo>
                    <a:pt x="19801" y="16099"/>
                    <a:pt x="19225" y="16077"/>
                    <a:pt x="18845" y="16077"/>
                  </a:cubicBezTo>
                  <a:cubicBezTo>
                    <a:pt x="18743" y="16077"/>
                    <a:pt x="18656" y="16079"/>
                    <a:pt x="18593" y="16079"/>
                  </a:cubicBezTo>
                  <a:cubicBezTo>
                    <a:pt x="18292" y="16079"/>
                    <a:pt x="16560" y="14506"/>
                    <a:pt x="16277" y="14241"/>
                  </a:cubicBezTo>
                  <a:cubicBezTo>
                    <a:pt x="16012" y="13976"/>
                    <a:pt x="16542" y="12862"/>
                    <a:pt x="16048" y="12367"/>
                  </a:cubicBezTo>
                  <a:cubicBezTo>
                    <a:pt x="15553" y="11873"/>
                    <a:pt x="13255" y="9186"/>
                    <a:pt x="13255" y="8568"/>
                  </a:cubicBezTo>
                  <a:cubicBezTo>
                    <a:pt x="13255" y="7949"/>
                    <a:pt x="13061" y="6500"/>
                    <a:pt x="13326" y="6217"/>
                  </a:cubicBezTo>
                  <a:cubicBezTo>
                    <a:pt x="13345" y="6198"/>
                    <a:pt x="13370" y="6190"/>
                    <a:pt x="13400" y="6190"/>
                  </a:cubicBezTo>
                  <a:cubicBezTo>
                    <a:pt x="13802" y="6190"/>
                    <a:pt x="15150" y="7705"/>
                    <a:pt x="15429" y="7984"/>
                  </a:cubicBezTo>
                  <a:cubicBezTo>
                    <a:pt x="15707" y="8279"/>
                    <a:pt x="16591" y="9331"/>
                    <a:pt x="16875" y="9331"/>
                  </a:cubicBezTo>
                  <a:cubicBezTo>
                    <a:pt x="16898" y="9331"/>
                    <a:pt x="16917" y="9324"/>
                    <a:pt x="16931" y="9310"/>
                  </a:cubicBezTo>
                  <a:cubicBezTo>
                    <a:pt x="17108" y="9133"/>
                    <a:pt x="16931" y="8090"/>
                    <a:pt x="17338" y="8090"/>
                  </a:cubicBezTo>
                  <a:cubicBezTo>
                    <a:pt x="17744" y="8090"/>
                    <a:pt x="18115" y="9186"/>
                    <a:pt x="18416" y="9186"/>
                  </a:cubicBezTo>
                  <a:cubicBezTo>
                    <a:pt x="18822" y="9169"/>
                    <a:pt x="19123" y="8815"/>
                    <a:pt x="19087" y="8426"/>
                  </a:cubicBezTo>
                  <a:cubicBezTo>
                    <a:pt x="19087" y="7914"/>
                    <a:pt x="18981" y="7348"/>
                    <a:pt x="19423" y="7348"/>
                  </a:cubicBezTo>
                  <a:cubicBezTo>
                    <a:pt x="19828" y="7348"/>
                    <a:pt x="20263" y="8255"/>
                    <a:pt x="20483" y="8255"/>
                  </a:cubicBezTo>
                  <a:cubicBezTo>
                    <a:pt x="20502" y="8255"/>
                    <a:pt x="20521" y="8248"/>
                    <a:pt x="20537" y="8232"/>
                  </a:cubicBezTo>
                  <a:cubicBezTo>
                    <a:pt x="20749" y="8020"/>
                    <a:pt x="20519" y="7171"/>
                    <a:pt x="20236" y="6906"/>
                  </a:cubicBezTo>
                  <a:cubicBezTo>
                    <a:pt x="19971" y="6624"/>
                    <a:pt x="19052" y="6588"/>
                    <a:pt x="18540" y="6076"/>
                  </a:cubicBezTo>
                  <a:cubicBezTo>
                    <a:pt x="18009" y="5546"/>
                    <a:pt x="17903" y="4892"/>
                    <a:pt x="18363" y="4892"/>
                  </a:cubicBezTo>
                  <a:cubicBezTo>
                    <a:pt x="18805" y="4892"/>
                    <a:pt x="19671" y="4132"/>
                    <a:pt x="19936" y="3849"/>
                  </a:cubicBezTo>
                  <a:cubicBezTo>
                    <a:pt x="20130" y="3655"/>
                    <a:pt x="23117" y="2912"/>
                    <a:pt x="24796" y="2877"/>
                  </a:cubicBezTo>
                  <a:cubicBezTo>
                    <a:pt x="24955" y="2877"/>
                    <a:pt x="24937" y="3266"/>
                    <a:pt x="25026" y="3442"/>
                  </a:cubicBezTo>
                  <a:cubicBezTo>
                    <a:pt x="24990" y="3301"/>
                    <a:pt x="24990" y="3160"/>
                    <a:pt x="25026" y="3018"/>
                  </a:cubicBezTo>
                  <a:cubicBezTo>
                    <a:pt x="25238" y="2789"/>
                    <a:pt x="25679" y="1445"/>
                    <a:pt x="25839" y="827"/>
                  </a:cubicBezTo>
                  <a:lnTo>
                    <a:pt x="25839" y="827"/>
                  </a:lnTo>
                  <a:cubicBezTo>
                    <a:pt x="24884" y="1004"/>
                    <a:pt x="23594" y="1180"/>
                    <a:pt x="23347" y="1180"/>
                  </a:cubicBezTo>
                  <a:cubicBezTo>
                    <a:pt x="23064" y="1180"/>
                    <a:pt x="20325" y="279"/>
                    <a:pt x="20095" y="67"/>
                  </a:cubicBezTo>
                  <a:cubicBezTo>
                    <a:pt x="20056" y="23"/>
                    <a:pt x="19976" y="1"/>
                    <a:pt x="19837"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 name="Google Shape;510;p24">
              <a:extLst>
                <a:ext uri="{FF2B5EF4-FFF2-40B4-BE49-F238E27FC236}">
                  <a16:creationId xmlns:a16="http://schemas.microsoft.com/office/drawing/2014/main" id="{7782C94E-DFB1-450D-A5EE-46FF5505A1CE}"/>
                </a:ext>
              </a:extLst>
            </p:cNvPr>
            <p:cNvSpPr/>
            <p:nvPr/>
          </p:nvSpPr>
          <p:spPr>
            <a:xfrm>
              <a:off x="4191725" y="570075"/>
              <a:ext cx="604000" cy="1394725"/>
            </a:xfrm>
            <a:custGeom>
              <a:avLst/>
              <a:gdLst/>
              <a:ahLst/>
              <a:cxnLst/>
              <a:rect l="l" t="t" r="r" b="b"/>
              <a:pathLst>
                <a:path w="24160" h="55789" extrusionOk="0">
                  <a:moveTo>
                    <a:pt x="13137" y="0"/>
                  </a:moveTo>
                  <a:cubicBezTo>
                    <a:pt x="13004" y="0"/>
                    <a:pt x="12819" y="75"/>
                    <a:pt x="12566" y="224"/>
                  </a:cubicBezTo>
                  <a:cubicBezTo>
                    <a:pt x="12372" y="348"/>
                    <a:pt x="12177" y="489"/>
                    <a:pt x="12001" y="631"/>
                  </a:cubicBezTo>
                  <a:cubicBezTo>
                    <a:pt x="11789" y="719"/>
                    <a:pt x="11559" y="772"/>
                    <a:pt x="11329" y="825"/>
                  </a:cubicBezTo>
                  <a:cubicBezTo>
                    <a:pt x="10516" y="1020"/>
                    <a:pt x="9880" y="1179"/>
                    <a:pt x="9685" y="1391"/>
                  </a:cubicBezTo>
                  <a:cubicBezTo>
                    <a:pt x="9597" y="1479"/>
                    <a:pt x="9350" y="1709"/>
                    <a:pt x="9438" y="6481"/>
                  </a:cubicBezTo>
                  <a:cubicBezTo>
                    <a:pt x="9438" y="6534"/>
                    <a:pt x="9438" y="6587"/>
                    <a:pt x="9438" y="6622"/>
                  </a:cubicBezTo>
                  <a:cubicBezTo>
                    <a:pt x="9385" y="6834"/>
                    <a:pt x="8095" y="8089"/>
                    <a:pt x="7847" y="8124"/>
                  </a:cubicBezTo>
                  <a:cubicBezTo>
                    <a:pt x="7423" y="7965"/>
                    <a:pt x="7017" y="7771"/>
                    <a:pt x="6628" y="7559"/>
                  </a:cubicBezTo>
                  <a:cubicBezTo>
                    <a:pt x="5903" y="7187"/>
                    <a:pt x="5568" y="7028"/>
                    <a:pt x="5444" y="7028"/>
                  </a:cubicBezTo>
                  <a:cubicBezTo>
                    <a:pt x="5302" y="7028"/>
                    <a:pt x="5002" y="7205"/>
                    <a:pt x="4348" y="7594"/>
                  </a:cubicBezTo>
                  <a:cubicBezTo>
                    <a:pt x="4030" y="7788"/>
                    <a:pt x="3712" y="7965"/>
                    <a:pt x="3394" y="8124"/>
                  </a:cubicBezTo>
                  <a:cubicBezTo>
                    <a:pt x="3252" y="8071"/>
                    <a:pt x="2598" y="7276"/>
                    <a:pt x="2121" y="6710"/>
                  </a:cubicBezTo>
                  <a:cubicBezTo>
                    <a:pt x="1167" y="5562"/>
                    <a:pt x="973" y="5385"/>
                    <a:pt x="849" y="5385"/>
                  </a:cubicBezTo>
                  <a:cubicBezTo>
                    <a:pt x="778" y="5385"/>
                    <a:pt x="584" y="5385"/>
                    <a:pt x="1" y="6781"/>
                  </a:cubicBezTo>
                  <a:cubicBezTo>
                    <a:pt x="460" y="7417"/>
                    <a:pt x="990" y="7983"/>
                    <a:pt x="1573" y="8513"/>
                  </a:cubicBezTo>
                  <a:cubicBezTo>
                    <a:pt x="3023" y="9838"/>
                    <a:pt x="4808" y="11464"/>
                    <a:pt x="4984" y="11623"/>
                  </a:cubicBezTo>
                  <a:cubicBezTo>
                    <a:pt x="5232" y="11906"/>
                    <a:pt x="6487" y="17897"/>
                    <a:pt x="6487" y="18392"/>
                  </a:cubicBezTo>
                  <a:lnTo>
                    <a:pt x="6487" y="18746"/>
                  </a:lnTo>
                  <a:cubicBezTo>
                    <a:pt x="6434" y="20301"/>
                    <a:pt x="6416" y="21803"/>
                    <a:pt x="6716" y="22086"/>
                  </a:cubicBezTo>
                  <a:cubicBezTo>
                    <a:pt x="6875" y="22263"/>
                    <a:pt x="6999" y="23235"/>
                    <a:pt x="7070" y="24207"/>
                  </a:cubicBezTo>
                  <a:cubicBezTo>
                    <a:pt x="7953" y="24330"/>
                    <a:pt x="8961" y="24507"/>
                    <a:pt x="9244" y="24578"/>
                  </a:cubicBezTo>
                  <a:cubicBezTo>
                    <a:pt x="9933" y="24772"/>
                    <a:pt x="10021" y="27706"/>
                    <a:pt x="10021" y="28130"/>
                  </a:cubicBezTo>
                  <a:cubicBezTo>
                    <a:pt x="10021" y="28554"/>
                    <a:pt x="8113" y="29579"/>
                    <a:pt x="7918" y="30233"/>
                  </a:cubicBezTo>
                  <a:cubicBezTo>
                    <a:pt x="7741" y="30887"/>
                    <a:pt x="4348" y="34704"/>
                    <a:pt x="4030" y="35023"/>
                  </a:cubicBezTo>
                  <a:cubicBezTo>
                    <a:pt x="3712" y="35341"/>
                    <a:pt x="3730" y="36313"/>
                    <a:pt x="3464" y="37002"/>
                  </a:cubicBezTo>
                  <a:cubicBezTo>
                    <a:pt x="3182" y="37709"/>
                    <a:pt x="283" y="40961"/>
                    <a:pt x="283" y="41420"/>
                  </a:cubicBezTo>
                  <a:cubicBezTo>
                    <a:pt x="283" y="41880"/>
                    <a:pt x="1220" y="43188"/>
                    <a:pt x="1132" y="43559"/>
                  </a:cubicBezTo>
                  <a:cubicBezTo>
                    <a:pt x="1043" y="43912"/>
                    <a:pt x="513" y="44478"/>
                    <a:pt x="654" y="44619"/>
                  </a:cubicBezTo>
                  <a:cubicBezTo>
                    <a:pt x="796" y="44760"/>
                    <a:pt x="1892" y="47677"/>
                    <a:pt x="2051" y="48560"/>
                  </a:cubicBezTo>
                  <a:cubicBezTo>
                    <a:pt x="2210" y="49444"/>
                    <a:pt x="955" y="51140"/>
                    <a:pt x="1167" y="51370"/>
                  </a:cubicBezTo>
                  <a:cubicBezTo>
                    <a:pt x="1397" y="51582"/>
                    <a:pt x="1892" y="52819"/>
                    <a:pt x="2104" y="53014"/>
                  </a:cubicBezTo>
                  <a:cubicBezTo>
                    <a:pt x="2298" y="53226"/>
                    <a:pt x="3305" y="53332"/>
                    <a:pt x="3641" y="53332"/>
                  </a:cubicBezTo>
                  <a:cubicBezTo>
                    <a:pt x="3995" y="53332"/>
                    <a:pt x="7176" y="55788"/>
                    <a:pt x="7459" y="55788"/>
                  </a:cubicBezTo>
                  <a:cubicBezTo>
                    <a:pt x="7724" y="55788"/>
                    <a:pt x="10799" y="54852"/>
                    <a:pt x="12036" y="54233"/>
                  </a:cubicBezTo>
                  <a:cubicBezTo>
                    <a:pt x="13255" y="53615"/>
                    <a:pt x="15447" y="52219"/>
                    <a:pt x="16560" y="52130"/>
                  </a:cubicBezTo>
                  <a:cubicBezTo>
                    <a:pt x="16755" y="52112"/>
                    <a:pt x="16967" y="52077"/>
                    <a:pt x="17161" y="52024"/>
                  </a:cubicBezTo>
                  <a:cubicBezTo>
                    <a:pt x="19441" y="48578"/>
                    <a:pt x="23435" y="42887"/>
                    <a:pt x="23435" y="42463"/>
                  </a:cubicBezTo>
                  <a:cubicBezTo>
                    <a:pt x="23435" y="42216"/>
                    <a:pt x="23594" y="41102"/>
                    <a:pt x="23771" y="40024"/>
                  </a:cubicBezTo>
                  <a:cubicBezTo>
                    <a:pt x="23965" y="38805"/>
                    <a:pt x="24160" y="37550"/>
                    <a:pt x="24160" y="37214"/>
                  </a:cubicBezTo>
                  <a:cubicBezTo>
                    <a:pt x="24160" y="36878"/>
                    <a:pt x="23329" y="36189"/>
                    <a:pt x="22074" y="35252"/>
                  </a:cubicBezTo>
                  <a:cubicBezTo>
                    <a:pt x="21438" y="34775"/>
                    <a:pt x="20554" y="34121"/>
                    <a:pt x="20519" y="33945"/>
                  </a:cubicBezTo>
                  <a:cubicBezTo>
                    <a:pt x="20501" y="33785"/>
                    <a:pt x="20625" y="33132"/>
                    <a:pt x="20713" y="32495"/>
                  </a:cubicBezTo>
                  <a:cubicBezTo>
                    <a:pt x="20837" y="31841"/>
                    <a:pt x="20925" y="31170"/>
                    <a:pt x="20979" y="30498"/>
                  </a:cubicBezTo>
                  <a:cubicBezTo>
                    <a:pt x="20979" y="30198"/>
                    <a:pt x="20501" y="29615"/>
                    <a:pt x="19741" y="28731"/>
                  </a:cubicBezTo>
                  <a:cubicBezTo>
                    <a:pt x="18981" y="27847"/>
                    <a:pt x="18080" y="26769"/>
                    <a:pt x="18080" y="26257"/>
                  </a:cubicBezTo>
                  <a:lnTo>
                    <a:pt x="18080" y="21626"/>
                  </a:lnTo>
                  <a:cubicBezTo>
                    <a:pt x="18080" y="21326"/>
                    <a:pt x="17603" y="20584"/>
                    <a:pt x="16825" y="19400"/>
                  </a:cubicBezTo>
                  <a:cubicBezTo>
                    <a:pt x="16224" y="18498"/>
                    <a:pt x="15553" y="17473"/>
                    <a:pt x="15252" y="16784"/>
                  </a:cubicBezTo>
                  <a:cubicBezTo>
                    <a:pt x="15076" y="16395"/>
                    <a:pt x="15659" y="14575"/>
                    <a:pt x="16012" y="13497"/>
                  </a:cubicBezTo>
                  <a:cubicBezTo>
                    <a:pt x="16154" y="13108"/>
                    <a:pt x="16277" y="12701"/>
                    <a:pt x="16348" y="12295"/>
                  </a:cubicBezTo>
                  <a:cubicBezTo>
                    <a:pt x="16348" y="12118"/>
                    <a:pt x="16030" y="11818"/>
                    <a:pt x="15164" y="11093"/>
                  </a:cubicBezTo>
                  <a:cubicBezTo>
                    <a:pt x="14369" y="10439"/>
                    <a:pt x="13273" y="9503"/>
                    <a:pt x="13273" y="9131"/>
                  </a:cubicBezTo>
                  <a:cubicBezTo>
                    <a:pt x="13255" y="8831"/>
                    <a:pt x="13238" y="8548"/>
                    <a:pt x="13185" y="8266"/>
                  </a:cubicBezTo>
                  <a:cubicBezTo>
                    <a:pt x="13096" y="7594"/>
                    <a:pt x="12955" y="6763"/>
                    <a:pt x="13238" y="6498"/>
                  </a:cubicBezTo>
                  <a:cubicBezTo>
                    <a:pt x="13450" y="6286"/>
                    <a:pt x="14192" y="5102"/>
                    <a:pt x="14934" y="3830"/>
                  </a:cubicBezTo>
                  <a:cubicBezTo>
                    <a:pt x="15023" y="3193"/>
                    <a:pt x="15906" y="1850"/>
                    <a:pt x="14987" y="1267"/>
                  </a:cubicBezTo>
                  <a:cubicBezTo>
                    <a:pt x="14386" y="878"/>
                    <a:pt x="13379" y="136"/>
                    <a:pt x="13308" y="65"/>
                  </a:cubicBezTo>
                  <a:cubicBezTo>
                    <a:pt x="13265" y="22"/>
                    <a:pt x="13209" y="0"/>
                    <a:pt x="1313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9" name="Google Shape;511;p24">
              <a:extLst>
                <a:ext uri="{FF2B5EF4-FFF2-40B4-BE49-F238E27FC236}">
                  <a16:creationId xmlns:a16="http://schemas.microsoft.com/office/drawing/2014/main" id="{9ABFF42B-A5AA-4387-A28D-3BC7BA7AF67E}"/>
                </a:ext>
              </a:extLst>
            </p:cNvPr>
            <p:cNvSpPr/>
            <p:nvPr/>
          </p:nvSpPr>
          <p:spPr>
            <a:xfrm>
              <a:off x="3524125" y="733150"/>
              <a:ext cx="844350" cy="1834875"/>
            </a:xfrm>
            <a:custGeom>
              <a:avLst/>
              <a:gdLst/>
              <a:ahLst/>
              <a:cxnLst/>
              <a:rect l="l" t="t" r="r" b="b"/>
              <a:pathLst>
                <a:path w="33774" h="73395" extrusionOk="0">
                  <a:moveTo>
                    <a:pt x="26151" y="1"/>
                  </a:moveTo>
                  <a:cubicBezTo>
                    <a:pt x="26013" y="1"/>
                    <a:pt x="25863" y="13"/>
                    <a:pt x="25733" y="28"/>
                  </a:cubicBezTo>
                  <a:cubicBezTo>
                    <a:pt x="25573" y="46"/>
                    <a:pt x="25043" y="117"/>
                    <a:pt x="24902" y="276"/>
                  </a:cubicBezTo>
                  <a:cubicBezTo>
                    <a:pt x="24831" y="346"/>
                    <a:pt x="24743" y="594"/>
                    <a:pt x="24513" y="1318"/>
                  </a:cubicBezTo>
                  <a:cubicBezTo>
                    <a:pt x="24283" y="1972"/>
                    <a:pt x="23859" y="3351"/>
                    <a:pt x="23665" y="3404"/>
                  </a:cubicBezTo>
                  <a:cubicBezTo>
                    <a:pt x="23329" y="3351"/>
                    <a:pt x="22993" y="3262"/>
                    <a:pt x="22657" y="3156"/>
                  </a:cubicBezTo>
                  <a:cubicBezTo>
                    <a:pt x="21799" y="2900"/>
                    <a:pt x="21145" y="2718"/>
                    <a:pt x="20763" y="2718"/>
                  </a:cubicBezTo>
                  <a:cubicBezTo>
                    <a:pt x="20618" y="2718"/>
                    <a:pt x="20512" y="2745"/>
                    <a:pt x="20448" y="2803"/>
                  </a:cubicBezTo>
                  <a:cubicBezTo>
                    <a:pt x="20289" y="2962"/>
                    <a:pt x="20289" y="3474"/>
                    <a:pt x="20289" y="4376"/>
                  </a:cubicBezTo>
                  <a:cubicBezTo>
                    <a:pt x="20289" y="5047"/>
                    <a:pt x="20307" y="5984"/>
                    <a:pt x="20130" y="6161"/>
                  </a:cubicBezTo>
                  <a:cubicBezTo>
                    <a:pt x="20072" y="6225"/>
                    <a:pt x="19986" y="6250"/>
                    <a:pt x="19885" y="6250"/>
                  </a:cubicBezTo>
                  <a:cubicBezTo>
                    <a:pt x="19708" y="6250"/>
                    <a:pt x="19484" y="6175"/>
                    <a:pt x="19282" y="6108"/>
                  </a:cubicBezTo>
                  <a:cubicBezTo>
                    <a:pt x="19078" y="6043"/>
                    <a:pt x="18894" y="5986"/>
                    <a:pt x="18745" y="5986"/>
                  </a:cubicBezTo>
                  <a:cubicBezTo>
                    <a:pt x="18648" y="5986"/>
                    <a:pt x="18567" y="6010"/>
                    <a:pt x="18504" y="6072"/>
                  </a:cubicBezTo>
                  <a:cubicBezTo>
                    <a:pt x="18345" y="6231"/>
                    <a:pt x="16118" y="9130"/>
                    <a:pt x="16118" y="9519"/>
                  </a:cubicBezTo>
                  <a:cubicBezTo>
                    <a:pt x="16136" y="9660"/>
                    <a:pt x="16154" y="9801"/>
                    <a:pt x="16171" y="9925"/>
                  </a:cubicBezTo>
                  <a:cubicBezTo>
                    <a:pt x="16242" y="10402"/>
                    <a:pt x="16366" y="11286"/>
                    <a:pt x="16154" y="11498"/>
                  </a:cubicBezTo>
                  <a:cubicBezTo>
                    <a:pt x="15853" y="11799"/>
                    <a:pt x="12884" y="15262"/>
                    <a:pt x="12425" y="16252"/>
                  </a:cubicBezTo>
                  <a:cubicBezTo>
                    <a:pt x="12001" y="17118"/>
                    <a:pt x="12036" y="18638"/>
                    <a:pt x="12036" y="19274"/>
                  </a:cubicBezTo>
                  <a:lnTo>
                    <a:pt x="12036" y="19469"/>
                  </a:lnTo>
                  <a:cubicBezTo>
                    <a:pt x="12036" y="19663"/>
                    <a:pt x="11099" y="20865"/>
                    <a:pt x="10481" y="21678"/>
                  </a:cubicBezTo>
                  <a:cubicBezTo>
                    <a:pt x="9526" y="22880"/>
                    <a:pt x="9279" y="23215"/>
                    <a:pt x="9279" y="23357"/>
                  </a:cubicBezTo>
                  <a:cubicBezTo>
                    <a:pt x="9332" y="23657"/>
                    <a:pt x="9403" y="23958"/>
                    <a:pt x="9509" y="24240"/>
                  </a:cubicBezTo>
                  <a:cubicBezTo>
                    <a:pt x="9685" y="24806"/>
                    <a:pt x="10039" y="25990"/>
                    <a:pt x="9950" y="26149"/>
                  </a:cubicBezTo>
                  <a:cubicBezTo>
                    <a:pt x="9892" y="26196"/>
                    <a:pt x="9566" y="26212"/>
                    <a:pt x="9224" y="26212"/>
                  </a:cubicBezTo>
                  <a:cubicBezTo>
                    <a:pt x="9053" y="26212"/>
                    <a:pt x="8878" y="26208"/>
                    <a:pt x="8731" y="26202"/>
                  </a:cubicBezTo>
                  <a:cubicBezTo>
                    <a:pt x="7936" y="26202"/>
                    <a:pt x="7582" y="26202"/>
                    <a:pt x="7459" y="26326"/>
                  </a:cubicBezTo>
                  <a:cubicBezTo>
                    <a:pt x="7335" y="26432"/>
                    <a:pt x="6893" y="27050"/>
                    <a:pt x="6133" y="28075"/>
                  </a:cubicBezTo>
                  <a:cubicBezTo>
                    <a:pt x="5515" y="28906"/>
                    <a:pt x="4808" y="29843"/>
                    <a:pt x="4702" y="29949"/>
                  </a:cubicBezTo>
                  <a:cubicBezTo>
                    <a:pt x="4419" y="30232"/>
                    <a:pt x="4136" y="38591"/>
                    <a:pt x="4136" y="38679"/>
                  </a:cubicBezTo>
                  <a:cubicBezTo>
                    <a:pt x="4136" y="38909"/>
                    <a:pt x="4489" y="39422"/>
                    <a:pt x="5037" y="40164"/>
                  </a:cubicBezTo>
                  <a:cubicBezTo>
                    <a:pt x="5267" y="40464"/>
                    <a:pt x="5479" y="40782"/>
                    <a:pt x="5674" y="41118"/>
                  </a:cubicBezTo>
                  <a:cubicBezTo>
                    <a:pt x="5638" y="41224"/>
                    <a:pt x="5179" y="41613"/>
                    <a:pt x="4843" y="41913"/>
                  </a:cubicBezTo>
                  <a:cubicBezTo>
                    <a:pt x="4083" y="42567"/>
                    <a:pt x="3730" y="42886"/>
                    <a:pt x="3730" y="43115"/>
                  </a:cubicBezTo>
                  <a:cubicBezTo>
                    <a:pt x="3730" y="43186"/>
                    <a:pt x="3730" y="43398"/>
                    <a:pt x="3765" y="43716"/>
                  </a:cubicBezTo>
                  <a:cubicBezTo>
                    <a:pt x="3836" y="44617"/>
                    <a:pt x="4048" y="47410"/>
                    <a:pt x="3765" y="47710"/>
                  </a:cubicBezTo>
                  <a:cubicBezTo>
                    <a:pt x="3341" y="48046"/>
                    <a:pt x="2881" y="48346"/>
                    <a:pt x="2404" y="48629"/>
                  </a:cubicBezTo>
                  <a:cubicBezTo>
                    <a:pt x="2104" y="48788"/>
                    <a:pt x="1821" y="48983"/>
                    <a:pt x="1538" y="49195"/>
                  </a:cubicBezTo>
                  <a:cubicBezTo>
                    <a:pt x="1379" y="49354"/>
                    <a:pt x="566" y="51740"/>
                    <a:pt x="1" y="53454"/>
                  </a:cubicBezTo>
                  <a:cubicBezTo>
                    <a:pt x="354" y="55875"/>
                    <a:pt x="902" y="61000"/>
                    <a:pt x="902" y="61336"/>
                  </a:cubicBezTo>
                  <a:cubicBezTo>
                    <a:pt x="902" y="61796"/>
                    <a:pt x="3288" y="66391"/>
                    <a:pt x="3288" y="66674"/>
                  </a:cubicBezTo>
                  <a:cubicBezTo>
                    <a:pt x="3288" y="66939"/>
                    <a:pt x="1732" y="68176"/>
                    <a:pt x="1732" y="68494"/>
                  </a:cubicBezTo>
                  <a:cubicBezTo>
                    <a:pt x="1732" y="68812"/>
                    <a:pt x="2952" y="70102"/>
                    <a:pt x="2952" y="70597"/>
                  </a:cubicBezTo>
                  <a:cubicBezTo>
                    <a:pt x="2952" y="71109"/>
                    <a:pt x="2740" y="73389"/>
                    <a:pt x="3288" y="73389"/>
                  </a:cubicBezTo>
                  <a:cubicBezTo>
                    <a:pt x="3457" y="73389"/>
                    <a:pt x="3818" y="73394"/>
                    <a:pt x="4246" y="73394"/>
                  </a:cubicBezTo>
                  <a:cubicBezTo>
                    <a:pt x="5246" y="73394"/>
                    <a:pt x="6614" y="73368"/>
                    <a:pt x="6787" y="73195"/>
                  </a:cubicBezTo>
                  <a:cubicBezTo>
                    <a:pt x="7034" y="72947"/>
                    <a:pt x="7070" y="71357"/>
                    <a:pt x="7070" y="71056"/>
                  </a:cubicBezTo>
                  <a:cubicBezTo>
                    <a:pt x="7070" y="70774"/>
                    <a:pt x="8360" y="69872"/>
                    <a:pt x="8660" y="69572"/>
                  </a:cubicBezTo>
                  <a:cubicBezTo>
                    <a:pt x="8723" y="69505"/>
                    <a:pt x="8927" y="69480"/>
                    <a:pt x="9213" y="69480"/>
                  </a:cubicBezTo>
                  <a:cubicBezTo>
                    <a:pt x="10028" y="69480"/>
                    <a:pt x="11508" y="69682"/>
                    <a:pt x="12273" y="69682"/>
                  </a:cubicBezTo>
                  <a:cubicBezTo>
                    <a:pt x="12517" y="69682"/>
                    <a:pt x="12689" y="69661"/>
                    <a:pt x="12743" y="69607"/>
                  </a:cubicBezTo>
                  <a:cubicBezTo>
                    <a:pt x="13008" y="69342"/>
                    <a:pt x="14351" y="66143"/>
                    <a:pt x="14634" y="65154"/>
                  </a:cubicBezTo>
                  <a:cubicBezTo>
                    <a:pt x="14934" y="64146"/>
                    <a:pt x="15747" y="56759"/>
                    <a:pt x="15871" y="56370"/>
                  </a:cubicBezTo>
                  <a:cubicBezTo>
                    <a:pt x="15977" y="55964"/>
                    <a:pt x="19759" y="54391"/>
                    <a:pt x="20059" y="54090"/>
                  </a:cubicBezTo>
                  <a:cubicBezTo>
                    <a:pt x="20360" y="53807"/>
                    <a:pt x="20484" y="52853"/>
                    <a:pt x="20484" y="52358"/>
                  </a:cubicBezTo>
                  <a:cubicBezTo>
                    <a:pt x="20484" y="51863"/>
                    <a:pt x="22286" y="50025"/>
                    <a:pt x="22286" y="49637"/>
                  </a:cubicBezTo>
                  <a:cubicBezTo>
                    <a:pt x="22286" y="49248"/>
                    <a:pt x="20272" y="47092"/>
                    <a:pt x="19883" y="46438"/>
                  </a:cubicBezTo>
                  <a:cubicBezTo>
                    <a:pt x="19494" y="45784"/>
                    <a:pt x="18239" y="45483"/>
                    <a:pt x="17939" y="45183"/>
                  </a:cubicBezTo>
                  <a:cubicBezTo>
                    <a:pt x="17621" y="44865"/>
                    <a:pt x="18027" y="36841"/>
                    <a:pt x="18027" y="36205"/>
                  </a:cubicBezTo>
                  <a:cubicBezTo>
                    <a:pt x="18027" y="35569"/>
                    <a:pt x="20448" y="33148"/>
                    <a:pt x="20607" y="32670"/>
                  </a:cubicBezTo>
                  <a:cubicBezTo>
                    <a:pt x="20749" y="32193"/>
                    <a:pt x="26157" y="28782"/>
                    <a:pt x="26510" y="28429"/>
                  </a:cubicBezTo>
                  <a:cubicBezTo>
                    <a:pt x="26864" y="28075"/>
                    <a:pt x="28277" y="25089"/>
                    <a:pt x="28401" y="24594"/>
                  </a:cubicBezTo>
                  <a:cubicBezTo>
                    <a:pt x="28507" y="24081"/>
                    <a:pt x="27323" y="23198"/>
                    <a:pt x="27641" y="22190"/>
                  </a:cubicBezTo>
                  <a:cubicBezTo>
                    <a:pt x="27959" y="21165"/>
                    <a:pt x="30133" y="18090"/>
                    <a:pt x="30575" y="17648"/>
                  </a:cubicBezTo>
                  <a:cubicBezTo>
                    <a:pt x="30690" y="17534"/>
                    <a:pt x="31046" y="17488"/>
                    <a:pt x="31526" y="17488"/>
                  </a:cubicBezTo>
                  <a:cubicBezTo>
                    <a:pt x="32154" y="17488"/>
                    <a:pt x="32992" y="17566"/>
                    <a:pt x="33774" y="17666"/>
                  </a:cubicBezTo>
                  <a:cubicBezTo>
                    <a:pt x="33703" y="16694"/>
                    <a:pt x="33597" y="15722"/>
                    <a:pt x="33420" y="15545"/>
                  </a:cubicBezTo>
                  <a:cubicBezTo>
                    <a:pt x="33120" y="15245"/>
                    <a:pt x="33138" y="13760"/>
                    <a:pt x="33208" y="12187"/>
                  </a:cubicBezTo>
                  <a:lnTo>
                    <a:pt x="33208" y="11852"/>
                  </a:lnTo>
                  <a:cubicBezTo>
                    <a:pt x="33208" y="11357"/>
                    <a:pt x="31936" y="5366"/>
                    <a:pt x="31688" y="5083"/>
                  </a:cubicBezTo>
                  <a:cubicBezTo>
                    <a:pt x="31512" y="4906"/>
                    <a:pt x="29727" y="3280"/>
                    <a:pt x="28277" y="1972"/>
                  </a:cubicBezTo>
                  <a:cubicBezTo>
                    <a:pt x="27694" y="1442"/>
                    <a:pt x="27164" y="877"/>
                    <a:pt x="26705" y="240"/>
                  </a:cubicBezTo>
                  <a:lnTo>
                    <a:pt x="26545" y="81"/>
                  </a:lnTo>
                  <a:cubicBezTo>
                    <a:pt x="26486" y="21"/>
                    <a:pt x="26329" y="1"/>
                    <a:pt x="26151"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0" name="Google Shape;512;p24">
              <a:extLst>
                <a:ext uri="{FF2B5EF4-FFF2-40B4-BE49-F238E27FC236}">
                  <a16:creationId xmlns:a16="http://schemas.microsoft.com/office/drawing/2014/main" id="{1E9E0852-81D1-4549-B405-B00D3B60C1D9}"/>
                </a:ext>
              </a:extLst>
            </p:cNvPr>
            <p:cNvSpPr/>
            <p:nvPr/>
          </p:nvSpPr>
          <p:spPr>
            <a:xfrm>
              <a:off x="4516475" y="238125"/>
              <a:ext cx="2062025" cy="5301603"/>
            </a:xfrm>
            <a:custGeom>
              <a:avLst/>
              <a:gdLst/>
              <a:ahLst/>
              <a:cxnLst/>
              <a:rect l="l" t="t" r="r" b="b"/>
              <a:pathLst>
                <a:path w="82481" h="209497" extrusionOk="0">
                  <a:moveTo>
                    <a:pt x="82481" y="0"/>
                  </a:moveTo>
                  <a:lnTo>
                    <a:pt x="58675" y="6186"/>
                  </a:lnTo>
                  <a:cubicBezTo>
                    <a:pt x="58675" y="6186"/>
                    <a:pt x="54698" y="8377"/>
                    <a:pt x="53408" y="9667"/>
                  </a:cubicBezTo>
                  <a:cubicBezTo>
                    <a:pt x="53151" y="9922"/>
                    <a:pt x="52854" y="10023"/>
                    <a:pt x="52543" y="10023"/>
                  </a:cubicBezTo>
                  <a:cubicBezTo>
                    <a:pt x="51334" y="10023"/>
                    <a:pt x="49918" y="8491"/>
                    <a:pt x="49794" y="8491"/>
                  </a:cubicBezTo>
                  <a:cubicBezTo>
                    <a:pt x="49788" y="8491"/>
                    <a:pt x="49785" y="8494"/>
                    <a:pt x="49785" y="8501"/>
                  </a:cubicBezTo>
                  <a:cubicBezTo>
                    <a:pt x="49785" y="8642"/>
                    <a:pt x="49016" y="8760"/>
                    <a:pt x="48502" y="8760"/>
                  </a:cubicBezTo>
                  <a:cubicBezTo>
                    <a:pt x="48246" y="8760"/>
                    <a:pt x="48053" y="8731"/>
                    <a:pt x="48053" y="8660"/>
                  </a:cubicBezTo>
                  <a:cubicBezTo>
                    <a:pt x="48053" y="8465"/>
                    <a:pt x="48778" y="7635"/>
                    <a:pt x="48778" y="7423"/>
                  </a:cubicBezTo>
                  <a:cubicBezTo>
                    <a:pt x="48778" y="7193"/>
                    <a:pt x="48336" y="7069"/>
                    <a:pt x="48089" y="6804"/>
                  </a:cubicBezTo>
                  <a:cubicBezTo>
                    <a:pt x="48042" y="6757"/>
                    <a:pt x="47939" y="6737"/>
                    <a:pt x="47802" y="6737"/>
                  </a:cubicBezTo>
                  <a:cubicBezTo>
                    <a:pt x="47163" y="6737"/>
                    <a:pt x="45774" y="7178"/>
                    <a:pt x="45774" y="7440"/>
                  </a:cubicBezTo>
                  <a:cubicBezTo>
                    <a:pt x="45774" y="7741"/>
                    <a:pt x="46640" y="8784"/>
                    <a:pt x="46516" y="8907"/>
                  </a:cubicBezTo>
                  <a:cubicBezTo>
                    <a:pt x="46501" y="8922"/>
                    <a:pt x="46453" y="8929"/>
                    <a:pt x="46383" y="8929"/>
                  </a:cubicBezTo>
                  <a:cubicBezTo>
                    <a:pt x="46084" y="8929"/>
                    <a:pt x="45366" y="8818"/>
                    <a:pt x="44913" y="8818"/>
                  </a:cubicBezTo>
                  <a:cubicBezTo>
                    <a:pt x="44726" y="8818"/>
                    <a:pt x="44585" y="8837"/>
                    <a:pt x="44536" y="8890"/>
                  </a:cubicBezTo>
                  <a:cubicBezTo>
                    <a:pt x="44324" y="9084"/>
                    <a:pt x="40030" y="16560"/>
                    <a:pt x="39835" y="16931"/>
                  </a:cubicBezTo>
                  <a:cubicBezTo>
                    <a:pt x="39659" y="17284"/>
                    <a:pt x="40878" y="20183"/>
                    <a:pt x="40878" y="20430"/>
                  </a:cubicBezTo>
                  <a:cubicBezTo>
                    <a:pt x="40878" y="20663"/>
                    <a:pt x="38410" y="21714"/>
                    <a:pt x="37818" y="21714"/>
                  </a:cubicBezTo>
                  <a:cubicBezTo>
                    <a:pt x="37782" y="21714"/>
                    <a:pt x="37753" y="21711"/>
                    <a:pt x="37732" y="21703"/>
                  </a:cubicBezTo>
                  <a:cubicBezTo>
                    <a:pt x="37379" y="21561"/>
                    <a:pt x="36813" y="20660"/>
                    <a:pt x="36672" y="20518"/>
                  </a:cubicBezTo>
                  <a:cubicBezTo>
                    <a:pt x="36531" y="20395"/>
                    <a:pt x="35223" y="20483"/>
                    <a:pt x="35011" y="20271"/>
                  </a:cubicBezTo>
                  <a:cubicBezTo>
                    <a:pt x="34816" y="20077"/>
                    <a:pt x="35046" y="18486"/>
                    <a:pt x="35046" y="18168"/>
                  </a:cubicBezTo>
                  <a:cubicBezTo>
                    <a:pt x="35046" y="17850"/>
                    <a:pt x="36336" y="17620"/>
                    <a:pt x="36513" y="17267"/>
                  </a:cubicBezTo>
                  <a:cubicBezTo>
                    <a:pt x="36584" y="17125"/>
                    <a:pt x="37114" y="16224"/>
                    <a:pt x="36902" y="16030"/>
                  </a:cubicBezTo>
                  <a:cubicBezTo>
                    <a:pt x="36707" y="15817"/>
                    <a:pt x="35523" y="14245"/>
                    <a:pt x="35223" y="13962"/>
                  </a:cubicBezTo>
                  <a:cubicBezTo>
                    <a:pt x="34922" y="13661"/>
                    <a:pt x="32572" y="13661"/>
                    <a:pt x="32254" y="13661"/>
                  </a:cubicBezTo>
                  <a:cubicBezTo>
                    <a:pt x="31936" y="13661"/>
                    <a:pt x="31600" y="14227"/>
                    <a:pt x="31370" y="14457"/>
                  </a:cubicBezTo>
                  <a:cubicBezTo>
                    <a:pt x="31287" y="14547"/>
                    <a:pt x="30863" y="14566"/>
                    <a:pt x="30377" y="14566"/>
                  </a:cubicBezTo>
                  <a:cubicBezTo>
                    <a:pt x="30004" y="14566"/>
                    <a:pt x="29596" y="14555"/>
                    <a:pt x="29277" y="14555"/>
                  </a:cubicBezTo>
                  <a:cubicBezTo>
                    <a:pt x="28951" y="14555"/>
                    <a:pt x="28719" y="14567"/>
                    <a:pt x="28719" y="14616"/>
                  </a:cubicBezTo>
                  <a:cubicBezTo>
                    <a:pt x="28719" y="14775"/>
                    <a:pt x="28966" y="15446"/>
                    <a:pt x="29249" y="15446"/>
                  </a:cubicBezTo>
                  <a:cubicBezTo>
                    <a:pt x="29514" y="15446"/>
                    <a:pt x="31670" y="16648"/>
                    <a:pt x="31953" y="16949"/>
                  </a:cubicBezTo>
                  <a:cubicBezTo>
                    <a:pt x="32254" y="17231"/>
                    <a:pt x="32236" y="20412"/>
                    <a:pt x="32236" y="20837"/>
                  </a:cubicBezTo>
                  <a:cubicBezTo>
                    <a:pt x="32236" y="21278"/>
                    <a:pt x="32908" y="22021"/>
                    <a:pt x="33155" y="22021"/>
                  </a:cubicBezTo>
                  <a:cubicBezTo>
                    <a:pt x="33420" y="22021"/>
                    <a:pt x="34675" y="23346"/>
                    <a:pt x="34958" y="23806"/>
                  </a:cubicBezTo>
                  <a:cubicBezTo>
                    <a:pt x="35223" y="24265"/>
                    <a:pt x="35011" y="27181"/>
                    <a:pt x="34834" y="27181"/>
                  </a:cubicBezTo>
                  <a:cubicBezTo>
                    <a:pt x="34657" y="27181"/>
                    <a:pt x="34427" y="26386"/>
                    <a:pt x="34251" y="26209"/>
                  </a:cubicBezTo>
                  <a:cubicBezTo>
                    <a:pt x="34209" y="26167"/>
                    <a:pt x="33994" y="26151"/>
                    <a:pt x="33688" y="26151"/>
                  </a:cubicBezTo>
                  <a:cubicBezTo>
                    <a:pt x="32709" y="26151"/>
                    <a:pt x="30790" y="26315"/>
                    <a:pt x="30575" y="26315"/>
                  </a:cubicBezTo>
                  <a:cubicBezTo>
                    <a:pt x="30310" y="26315"/>
                    <a:pt x="30292" y="27676"/>
                    <a:pt x="30292" y="27977"/>
                  </a:cubicBezTo>
                  <a:cubicBezTo>
                    <a:pt x="30292" y="28259"/>
                    <a:pt x="27394" y="32483"/>
                    <a:pt x="27146" y="32748"/>
                  </a:cubicBezTo>
                  <a:cubicBezTo>
                    <a:pt x="26881" y="33013"/>
                    <a:pt x="28560" y="34975"/>
                    <a:pt x="29002" y="35399"/>
                  </a:cubicBezTo>
                  <a:cubicBezTo>
                    <a:pt x="29426" y="35823"/>
                    <a:pt x="29479" y="36424"/>
                    <a:pt x="29320" y="36601"/>
                  </a:cubicBezTo>
                  <a:cubicBezTo>
                    <a:pt x="29143" y="36778"/>
                    <a:pt x="28878" y="38209"/>
                    <a:pt x="28701" y="38209"/>
                  </a:cubicBezTo>
                  <a:cubicBezTo>
                    <a:pt x="28525" y="38209"/>
                    <a:pt x="28136" y="37820"/>
                    <a:pt x="27765" y="37732"/>
                  </a:cubicBezTo>
                  <a:cubicBezTo>
                    <a:pt x="27512" y="37669"/>
                    <a:pt x="26295" y="37660"/>
                    <a:pt x="25504" y="37660"/>
                  </a:cubicBezTo>
                  <a:cubicBezTo>
                    <a:pt x="25188" y="37660"/>
                    <a:pt x="24940" y="37661"/>
                    <a:pt x="24849" y="37661"/>
                  </a:cubicBezTo>
                  <a:cubicBezTo>
                    <a:pt x="24531" y="37661"/>
                    <a:pt x="24265" y="37379"/>
                    <a:pt x="23753" y="36848"/>
                  </a:cubicBezTo>
                  <a:cubicBezTo>
                    <a:pt x="23391" y="36499"/>
                    <a:pt x="22513" y="36224"/>
                    <a:pt x="21990" y="36224"/>
                  </a:cubicBezTo>
                  <a:cubicBezTo>
                    <a:pt x="21746" y="36224"/>
                    <a:pt x="21579" y="36284"/>
                    <a:pt x="21579" y="36424"/>
                  </a:cubicBezTo>
                  <a:cubicBezTo>
                    <a:pt x="21579" y="36848"/>
                    <a:pt x="21208" y="37785"/>
                    <a:pt x="20978" y="37997"/>
                  </a:cubicBezTo>
                  <a:cubicBezTo>
                    <a:pt x="20766" y="38227"/>
                    <a:pt x="21491" y="39058"/>
                    <a:pt x="21827" y="39393"/>
                  </a:cubicBezTo>
                  <a:cubicBezTo>
                    <a:pt x="22145" y="39711"/>
                    <a:pt x="22710" y="40630"/>
                    <a:pt x="22975" y="40913"/>
                  </a:cubicBezTo>
                  <a:cubicBezTo>
                    <a:pt x="23047" y="40981"/>
                    <a:pt x="23161" y="41006"/>
                    <a:pt x="23297" y="41006"/>
                  </a:cubicBezTo>
                  <a:cubicBezTo>
                    <a:pt x="23695" y="41006"/>
                    <a:pt x="24280" y="40790"/>
                    <a:pt x="24531" y="40790"/>
                  </a:cubicBezTo>
                  <a:cubicBezTo>
                    <a:pt x="24849" y="40790"/>
                    <a:pt x="25997" y="41673"/>
                    <a:pt x="25997" y="42009"/>
                  </a:cubicBezTo>
                  <a:cubicBezTo>
                    <a:pt x="25997" y="42345"/>
                    <a:pt x="25626" y="43069"/>
                    <a:pt x="25520" y="43175"/>
                  </a:cubicBezTo>
                  <a:cubicBezTo>
                    <a:pt x="25492" y="43199"/>
                    <a:pt x="25277" y="43207"/>
                    <a:pt x="24967" y="43207"/>
                  </a:cubicBezTo>
                  <a:cubicBezTo>
                    <a:pt x="24099" y="43207"/>
                    <a:pt x="22488" y="43140"/>
                    <a:pt x="22162" y="43140"/>
                  </a:cubicBezTo>
                  <a:cubicBezTo>
                    <a:pt x="21738" y="43140"/>
                    <a:pt x="20784" y="41779"/>
                    <a:pt x="20607" y="41602"/>
                  </a:cubicBezTo>
                  <a:cubicBezTo>
                    <a:pt x="20430" y="41408"/>
                    <a:pt x="18310" y="41585"/>
                    <a:pt x="18098" y="41373"/>
                  </a:cubicBezTo>
                  <a:cubicBezTo>
                    <a:pt x="17868" y="41161"/>
                    <a:pt x="17603" y="38722"/>
                    <a:pt x="17479" y="38616"/>
                  </a:cubicBezTo>
                  <a:cubicBezTo>
                    <a:pt x="17373" y="38492"/>
                    <a:pt x="16436" y="37838"/>
                    <a:pt x="16189" y="37591"/>
                  </a:cubicBezTo>
                  <a:cubicBezTo>
                    <a:pt x="15941" y="37361"/>
                    <a:pt x="16348" y="34374"/>
                    <a:pt x="16348" y="34038"/>
                  </a:cubicBezTo>
                  <a:cubicBezTo>
                    <a:pt x="16348" y="33703"/>
                    <a:pt x="9614" y="28789"/>
                    <a:pt x="9915" y="28789"/>
                  </a:cubicBezTo>
                  <a:cubicBezTo>
                    <a:pt x="10215" y="28789"/>
                    <a:pt x="14757" y="30963"/>
                    <a:pt x="14969" y="30963"/>
                  </a:cubicBezTo>
                  <a:cubicBezTo>
                    <a:pt x="15164" y="30963"/>
                    <a:pt x="22321" y="31546"/>
                    <a:pt x="22693" y="31546"/>
                  </a:cubicBezTo>
                  <a:cubicBezTo>
                    <a:pt x="23081" y="31546"/>
                    <a:pt x="27022" y="29355"/>
                    <a:pt x="27270" y="28683"/>
                  </a:cubicBezTo>
                  <a:cubicBezTo>
                    <a:pt x="27517" y="27994"/>
                    <a:pt x="28083" y="24141"/>
                    <a:pt x="27941" y="23594"/>
                  </a:cubicBezTo>
                  <a:cubicBezTo>
                    <a:pt x="27782" y="23046"/>
                    <a:pt x="24000" y="20041"/>
                    <a:pt x="23841" y="19882"/>
                  </a:cubicBezTo>
                  <a:cubicBezTo>
                    <a:pt x="23682" y="19723"/>
                    <a:pt x="21632" y="19706"/>
                    <a:pt x="21102" y="19706"/>
                  </a:cubicBezTo>
                  <a:cubicBezTo>
                    <a:pt x="20572" y="19706"/>
                    <a:pt x="13432" y="16277"/>
                    <a:pt x="12760" y="15994"/>
                  </a:cubicBezTo>
                  <a:cubicBezTo>
                    <a:pt x="12089" y="15729"/>
                    <a:pt x="6893" y="15658"/>
                    <a:pt x="6893" y="15482"/>
                  </a:cubicBezTo>
                  <a:cubicBezTo>
                    <a:pt x="6893" y="15305"/>
                    <a:pt x="8961" y="14881"/>
                    <a:pt x="8448" y="14704"/>
                  </a:cubicBezTo>
                  <a:cubicBezTo>
                    <a:pt x="7953" y="14527"/>
                    <a:pt x="5991" y="13273"/>
                    <a:pt x="5779" y="13273"/>
                  </a:cubicBezTo>
                  <a:cubicBezTo>
                    <a:pt x="5585" y="13273"/>
                    <a:pt x="5302" y="13944"/>
                    <a:pt x="5302" y="14032"/>
                  </a:cubicBezTo>
                  <a:cubicBezTo>
                    <a:pt x="5302" y="14121"/>
                    <a:pt x="5779" y="14722"/>
                    <a:pt x="5497" y="14722"/>
                  </a:cubicBezTo>
                  <a:lnTo>
                    <a:pt x="5019" y="14722"/>
                  </a:lnTo>
                  <a:cubicBezTo>
                    <a:pt x="3641" y="14722"/>
                    <a:pt x="2528" y="16153"/>
                    <a:pt x="1962" y="17090"/>
                  </a:cubicBezTo>
                  <a:cubicBezTo>
                    <a:pt x="1202" y="18362"/>
                    <a:pt x="477" y="19564"/>
                    <a:pt x="265" y="19776"/>
                  </a:cubicBezTo>
                  <a:cubicBezTo>
                    <a:pt x="0" y="20041"/>
                    <a:pt x="106" y="20872"/>
                    <a:pt x="212" y="21544"/>
                  </a:cubicBezTo>
                  <a:cubicBezTo>
                    <a:pt x="248" y="21826"/>
                    <a:pt x="283" y="22109"/>
                    <a:pt x="301" y="22409"/>
                  </a:cubicBezTo>
                  <a:cubicBezTo>
                    <a:pt x="301" y="22781"/>
                    <a:pt x="1396" y="23700"/>
                    <a:pt x="2192" y="24371"/>
                  </a:cubicBezTo>
                  <a:cubicBezTo>
                    <a:pt x="3058" y="25096"/>
                    <a:pt x="3376" y="25396"/>
                    <a:pt x="3376" y="25573"/>
                  </a:cubicBezTo>
                  <a:cubicBezTo>
                    <a:pt x="3287" y="25979"/>
                    <a:pt x="3181" y="26386"/>
                    <a:pt x="3040" y="26775"/>
                  </a:cubicBezTo>
                  <a:cubicBezTo>
                    <a:pt x="2687" y="27853"/>
                    <a:pt x="2103" y="29655"/>
                    <a:pt x="2280" y="30062"/>
                  </a:cubicBezTo>
                  <a:cubicBezTo>
                    <a:pt x="2581" y="30751"/>
                    <a:pt x="3252" y="31776"/>
                    <a:pt x="3853" y="32678"/>
                  </a:cubicBezTo>
                  <a:cubicBezTo>
                    <a:pt x="4631" y="33862"/>
                    <a:pt x="5108" y="34604"/>
                    <a:pt x="5108" y="34904"/>
                  </a:cubicBezTo>
                  <a:lnTo>
                    <a:pt x="5108" y="39517"/>
                  </a:lnTo>
                  <a:cubicBezTo>
                    <a:pt x="5108" y="40030"/>
                    <a:pt x="6027" y="41125"/>
                    <a:pt x="6769" y="42009"/>
                  </a:cubicBezTo>
                  <a:cubicBezTo>
                    <a:pt x="7511" y="42875"/>
                    <a:pt x="8006" y="43476"/>
                    <a:pt x="8006" y="43776"/>
                  </a:cubicBezTo>
                  <a:cubicBezTo>
                    <a:pt x="7953" y="44430"/>
                    <a:pt x="7865" y="45102"/>
                    <a:pt x="7741" y="45756"/>
                  </a:cubicBezTo>
                  <a:cubicBezTo>
                    <a:pt x="7635" y="46410"/>
                    <a:pt x="7547" y="47010"/>
                    <a:pt x="7547" y="47223"/>
                  </a:cubicBezTo>
                  <a:cubicBezTo>
                    <a:pt x="7547" y="47417"/>
                    <a:pt x="8448" y="48035"/>
                    <a:pt x="9084" y="48530"/>
                  </a:cubicBezTo>
                  <a:cubicBezTo>
                    <a:pt x="10357" y="49467"/>
                    <a:pt x="11170" y="50103"/>
                    <a:pt x="11170" y="50474"/>
                  </a:cubicBezTo>
                  <a:cubicBezTo>
                    <a:pt x="11170" y="50846"/>
                    <a:pt x="10975" y="52065"/>
                    <a:pt x="10799" y="53284"/>
                  </a:cubicBezTo>
                  <a:cubicBezTo>
                    <a:pt x="10622" y="54362"/>
                    <a:pt x="10445" y="55476"/>
                    <a:pt x="10445" y="55723"/>
                  </a:cubicBezTo>
                  <a:cubicBezTo>
                    <a:pt x="10445" y="56165"/>
                    <a:pt x="6469" y="61838"/>
                    <a:pt x="4171" y="65284"/>
                  </a:cubicBezTo>
                  <a:cubicBezTo>
                    <a:pt x="4454" y="65231"/>
                    <a:pt x="4754" y="65214"/>
                    <a:pt x="5037" y="65214"/>
                  </a:cubicBezTo>
                  <a:cubicBezTo>
                    <a:pt x="5779" y="65214"/>
                    <a:pt x="6981" y="66928"/>
                    <a:pt x="7193" y="67140"/>
                  </a:cubicBezTo>
                  <a:cubicBezTo>
                    <a:pt x="7230" y="67180"/>
                    <a:pt x="7309" y="67195"/>
                    <a:pt x="7415" y="67195"/>
                  </a:cubicBezTo>
                  <a:cubicBezTo>
                    <a:pt x="7772" y="67195"/>
                    <a:pt x="8442" y="67023"/>
                    <a:pt x="8914" y="67023"/>
                  </a:cubicBezTo>
                  <a:cubicBezTo>
                    <a:pt x="9113" y="67023"/>
                    <a:pt x="9276" y="67054"/>
                    <a:pt x="9367" y="67140"/>
                  </a:cubicBezTo>
                  <a:cubicBezTo>
                    <a:pt x="9695" y="67485"/>
                    <a:pt x="10358" y="68088"/>
                    <a:pt x="10028" y="68088"/>
                  </a:cubicBezTo>
                  <a:cubicBezTo>
                    <a:pt x="10002" y="68088"/>
                    <a:pt x="9971" y="68084"/>
                    <a:pt x="9933" y="68077"/>
                  </a:cubicBezTo>
                  <a:cubicBezTo>
                    <a:pt x="9811" y="68053"/>
                    <a:pt x="9637" y="68043"/>
                    <a:pt x="9436" y="68043"/>
                  </a:cubicBezTo>
                  <a:cubicBezTo>
                    <a:pt x="8728" y="68043"/>
                    <a:pt x="7698" y="68173"/>
                    <a:pt x="7547" y="68324"/>
                  </a:cubicBezTo>
                  <a:cubicBezTo>
                    <a:pt x="7370" y="68519"/>
                    <a:pt x="6804" y="70233"/>
                    <a:pt x="6628" y="70392"/>
                  </a:cubicBezTo>
                  <a:cubicBezTo>
                    <a:pt x="6539" y="70887"/>
                    <a:pt x="6257" y="72424"/>
                    <a:pt x="6257" y="73273"/>
                  </a:cubicBezTo>
                  <a:cubicBezTo>
                    <a:pt x="6257" y="73838"/>
                    <a:pt x="6628" y="75712"/>
                    <a:pt x="6946" y="77373"/>
                  </a:cubicBezTo>
                  <a:cubicBezTo>
                    <a:pt x="7193" y="78663"/>
                    <a:pt x="7423" y="79882"/>
                    <a:pt x="7423" y="80148"/>
                  </a:cubicBezTo>
                  <a:cubicBezTo>
                    <a:pt x="7405" y="80536"/>
                    <a:pt x="7246" y="80907"/>
                    <a:pt x="6963" y="81173"/>
                  </a:cubicBezTo>
                  <a:cubicBezTo>
                    <a:pt x="7211" y="81367"/>
                    <a:pt x="7759" y="81879"/>
                    <a:pt x="7759" y="82198"/>
                  </a:cubicBezTo>
                  <a:lnTo>
                    <a:pt x="7759" y="84513"/>
                  </a:lnTo>
                  <a:cubicBezTo>
                    <a:pt x="7759" y="84637"/>
                    <a:pt x="7953" y="84849"/>
                    <a:pt x="8731" y="85573"/>
                  </a:cubicBezTo>
                  <a:cubicBezTo>
                    <a:pt x="9226" y="86033"/>
                    <a:pt x="10039" y="86775"/>
                    <a:pt x="10056" y="86952"/>
                  </a:cubicBezTo>
                  <a:cubicBezTo>
                    <a:pt x="10039" y="87181"/>
                    <a:pt x="9986" y="87394"/>
                    <a:pt x="9897" y="87623"/>
                  </a:cubicBezTo>
                  <a:cubicBezTo>
                    <a:pt x="9809" y="87941"/>
                    <a:pt x="9827" y="88295"/>
                    <a:pt x="9933" y="88613"/>
                  </a:cubicBezTo>
                  <a:cubicBezTo>
                    <a:pt x="10162" y="88684"/>
                    <a:pt x="10869" y="88949"/>
                    <a:pt x="12972" y="89125"/>
                  </a:cubicBezTo>
                  <a:cubicBezTo>
                    <a:pt x="14704" y="89267"/>
                    <a:pt x="17090" y="89461"/>
                    <a:pt x="17302" y="89620"/>
                  </a:cubicBezTo>
                  <a:cubicBezTo>
                    <a:pt x="17638" y="89956"/>
                    <a:pt x="18787" y="91564"/>
                    <a:pt x="18804" y="91759"/>
                  </a:cubicBezTo>
                  <a:cubicBezTo>
                    <a:pt x="18804" y="91812"/>
                    <a:pt x="18804" y="91953"/>
                    <a:pt x="18787" y="92165"/>
                  </a:cubicBezTo>
                  <a:cubicBezTo>
                    <a:pt x="18645" y="94233"/>
                    <a:pt x="18345" y="94905"/>
                    <a:pt x="18893" y="95276"/>
                  </a:cubicBezTo>
                  <a:cubicBezTo>
                    <a:pt x="19458" y="95629"/>
                    <a:pt x="25450" y="100277"/>
                    <a:pt x="25909" y="100931"/>
                  </a:cubicBezTo>
                  <a:cubicBezTo>
                    <a:pt x="25838" y="101019"/>
                    <a:pt x="25697" y="101143"/>
                    <a:pt x="25538" y="101355"/>
                  </a:cubicBezTo>
                  <a:cubicBezTo>
                    <a:pt x="25149" y="101815"/>
                    <a:pt x="24195" y="102928"/>
                    <a:pt x="24036" y="102981"/>
                  </a:cubicBezTo>
                  <a:cubicBezTo>
                    <a:pt x="23983" y="102981"/>
                    <a:pt x="23753" y="102946"/>
                    <a:pt x="23505" y="102893"/>
                  </a:cubicBezTo>
                  <a:cubicBezTo>
                    <a:pt x="22819" y="102773"/>
                    <a:pt x="22361" y="102707"/>
                    <a:pt x="22078" y="102707"/>
                  </a:cubicBezTo>
                  <a:cubicBezTo>
                    <a:pt x="21901" y="102707"/>
                    <a:pt x="21792" y="102733"/>
                    <a:pt x="21738" y="102787"/>
                  </a:cubicBezTo>
                  <a:cubicBezTo>
                    <a:pt x="21703" y="102822"/>
                    <a:pt x="21685" y="102857"/>
                    <a:pt x="21703" y="102910"/>
                  </a:cubicBezTo>
                  <a:cubicBezTo>
                    <a:pt x="21738" y="103246"/>
                    <a:pt x="21827" y="103564"/>
                    <a:pt x="21950" y="103883"/>
                  </a:cubicBezTo>
                  <a:cubicBezTo>
                    <a:pt x="22021" y="103936"/>
                    <a:pt x="22039" y="103953"/>
                    <a:pt x="22021" y="103953"/>
                  </a:cubicBezTo>
                  <a:lnTo>
                    <a:pt x="21968" y="103953"/>
                  </a:lnTo>
                  <a:cubicBezTo>
                    <a:pt x="22498" y="105526"/>
                    <a:pt x="23576" y="108301"/>
                    <a:pt x="23859" y="108902"/>
                  </a:cubicBezTo>
                  <a:cubicBezTo>
                    <a:pt x="24142" y="109025"/>
                    <a:pt x="24990" y="109025"/>
                    <a:pt x="25043" y="109025"/>
                  </a:cubicBezTo>
                  <a:cubicBezTo>
                    <a:pt x="25450" y="109025"/>
                    <a:pt x="25962" y="109008"/>
                    <a:pt x="26103" y="108849"/>
                  </a:cubicBezTo>
                  <a:cubicBezTo>
                    <a:pt x="26280" y="108584"/>
                    <a:pt x="26439" y="108283"/>
                    <a:pt x="26545" y="107983"/>
                  </a:cubicBezTo>
                  <a:cubicBezTo>
                    <a:pt x="26651" y="107700"/>
                    <a:pt x="26775" y="107417"/>
                    <a:pt x="26952" y="107170"/>
                  </a:cubicBezTo>
                  <a:cubicBezTo>
                    <a:pt x="27005" y="107170"/>
                    <a:pt x="27128" y="107187"/>
                    <a:pt x="27252" y="107205"/>
                  </a:cubicBezTo>
                  <a:cubicBezTo>
                    <a:pt x="27850" y="107283"/>
                    <a:pt x="28322" y="107335"/>
                    <a:pt x="28655" y="107335"/>
                  </a:cubicBezTo>
                  <a:cubicBezTo>
                    <a:pt x="28923" y="107335"/>
                    <a:pt x="29100" y="107302"/>
                    <a:pt x="29179" y="107223"/>
                  </a:cubicBezTo>
                  <a:cubicBezTo>
                    <a:pt x="29408" y="106993"/>
                    <a:pt x="30451" y="106233"/>
                    <a:pt x="30663" y="106198"/>
                  </a:cubicBezTo>
                  <a:cubicBezTo>
                    <a:pt x="30698" y="106233"/>
                    <a:pt x="30769" y="106304"/>
                    <a:pt x="30875" y="106392"/>
                  </a:cubicBezTo>
                  <a:cubicBezTo>
                    <a:pt x="32660" y="108053"/>
                    <a:pt x="33084" y="108531"/>
                    <a:pt x="33102" y="108637"/>
                  </a:cubicBezTo>
                  <a:cubicBezTo>
                    <a:pt x="33049" y="108884"/>
                    <a:pt x="32978" y="109131"/>
                    <a:pt x="32890" y="109361"/>
                  </a:cubicBezTo>
                  <a:cubicBezTo>
                    <a:pt x="32749" y="109679"/>
                    <a:pt x="32660" y="110015"/>
                    <a:pt x="32607" y="110369"/>
                  </a:cubicBezTo>
                  <a:cubicBezTo>
                    <a:pt x="32607" y="110775"/>
                    <a:pt x="33120" y="111835"/>
                    <a:pt x="33314" y="112030"/>
                  </a:cubicBezTo>
                  <a:cubicBezTo>
                    <a:pt x="33367" y="112083"/>
                    <a:pt x="33469" y="112105"/>
                    <a:pt x="33692" y="112105"/>
                  </a:cubicBezTo>
                  <a:cubicBezTo>
                    <a:pt x="33915" y="112105"/>
                    <a:pt x="34260" y="112083"/>
                    <a:pt x="34799" y="112047"/>
                  </a:cubicBezTo>
                  <a:cubicBezTo>
                    <a:pt x="35172" y="112015"/>
                    <a:pt x="35702" y="111975"/>
                    <a:pt x="36079" y="111975"/>
                  </a:cubicBezTo>
                  <a:cubicBezTo>
                    <a:pt x="36310" y="111975"/>
                    <a:pt x="36484" y="111990"/>
                    <a:pt x="36531" y="112030"/>
                  </a:cubicBezTo>
                  <a:cubicBezTo>
                    <a:pt x="36654" y="112118"/>
                    <a:pt x="37202" y="113055"/>
                    <a:pt x="37679" y="113868"/>
                  </a:cubicBezTo>
                  <a:cubicBezTo>
                    <a:pt x="37997" y="114451"/>
                    <a:pt x="38369" y="115034"/>
                    <a:pt x="38757" y="115600"/>
                  </a:cubicBezTo>
                  <a:cubicBezTo>
                    <a:pt x="38952" y="115794"/>
                    <a:pt x="40684" y="115918"/>
                    <a:pt x="41020" y="115936"/>
                  </a:cubicBezTo>
                  <a:cubicBezTo>
                    <a:pt x="41356" y="115958"/>
                    <a:pt x="41788" y="115977"/>
                    <a:pt x="42191" y="115977"/>
                  </a:cubicBezTo>
                  <a:cubicBezTo>
                    <a:pt x="42738" y="115977"/>
                    <a:pt x="43230" y="115942"/>
                    <a:pt x="43352" y="115830"/>
                  </a:cubicBezTo>
                  <a:cubicBezTo>
                    <a:pt x="43653" y="115529"/>
                    <a:pt x="44978" y="114486"/>
                    <a:pt x="45173" y="114451"/>
                  </a:cubicBezTo>
                  <a:cubicBezTo>
                    <a:pt x="45703" y="114451"/>
                    <a:pt x="47788" y="114557"/>
                    <a:pt x="48071" y="114822"/>
                  </a:cubicBezTo>
                  <a:cubicBezTo>
                    <a:pt x="48124" y="114893"/>
                    <a:pt x="48212" y="114981"/>
                    <a:pt x="48301" y="115087"/>
                  </a:cubicBezTo>
                  <a:cubicBezTo>
                    <a:pt x="49078" y="115883"/>
                    <a:pt x="49538" y="116307"/>
                    <a:pt x="49785" y="116307"/>
                  </a:cubicBezTo>
                  <a:cubicBezTo>
                    <a:pt x="50316" y="116307"/>
                    <a:pt x="54840" y="116572"/>
                    <a:pt x="55140" y="116819"/>
                  </a:cubicBezTo>
                  <a:cubicBezTo>
                    <a:pt x="55264" y="116978"/>
                    <a:pt x="54911" y="118233"/>
                    <a:pt x="54698" y="118975"/>
                  </a:cubicBezTo>
                  <a:cubicBezTo>
                    <a:pt x="54539" y="119453"/>
                    <a:pt x="54416" y="119947"/>
                    <a:pt x="54345" y="120460"/>
                  </a:cubicBezTo>
                  <a:cubicBezTo>
                    <a:pt x="54345" y="121061"/>
                    <a:pt x="55476" y="121662"/>
                    <a:pt x="55759" y="121803"/>
                  </a:cubicBezTo>
                  <a:cubicBezTo>
                    <a:pt x="56042" y="123182"/>
                    <a:pt x="56448" y="125232"/>
                    <a:pt x="56466" y="125567"/>
                  </a:cubicBezTo>
                  <a:cubicBezTo>
                    <a:pt x="56307" y="125673"/>
                    <a:pt x="55388" y="125833"/>
                    <a:pt x="54769" y="125939"/>
                  </a:cubicBezTo>
                  <a:cubicBezTo>
                    <a:pt x="53762" y="126115"/>
                    <a:pt x="53320" y="126204"/>
                    <a:pt x="53196" y="126327"/>
                  </a:cubicBezTo>
                  <a:cubicBezTo>
                    <a:pt x="53179" y="126345"/>
                    <a:pt x="51447" y="128165"/>
                    <a:pt x="51447" y="128483"/>
                  </a:cubicBezTo>
                  <a:lnTo>
                    <a:pt x="51447" y="131629"/>
                  </a:lnTo>
                  <a:cubicBezTo>
                    <a:pt x="52185" y="131629"/>
                    <a:pt x="52954" y="130149"/>
                    <a:pt x="53182" y="130149"/>
                  </a:cubicBezTo>
                  <a:cubicBezTo>
                    <a:pt x="53194" y="130149"/>
                    <a:pt x="53205" y="130153"/>
                    <a:pt x="53214" y="130162"/>
                  </a:cubicBezTo>
                  <a:cubicBezTo>
                    <a:pt x="53532" y="130481"/>
                    <a:pt x="53090" y="131417"/>
                    <a:pt x="52472" y="132036"/>
                  </a:cubicBezTo>
                  <a:lnTo>
                    <a:pt x="52295" y="132213"/>
                  </a:lnTo>
                  <a:cubicBezTo>
                    <a:pt x="50704" y="133821"/>
                    <a:pt x="50015" y="134422"/>
                    <a:pt x="49768" y="134422"/>
                  </a:cubicBezTo>
                  <a:cubicBezTo>
                    <a:pt x="49450" y="134422"/>
                    <a:pt x="49008" y="134634"/>
                    <a:pt x="48990" y="134722"/>
                  </a:cubicBezTo>
                  <a:cubicBezTo>
                    <a:pt x="48990" y="134863"/>
                    <a:pt x="49467" y="135482"/>
                    <a:pt x="49697" y="135482"/>
                  </a:cubicBezTo>
                  <a:cubicBezTo>
                    <a:pt x="50015" y="135482"/>
                    <a:pt x="52118" y="136507"/>
                    <a:pt x="52118" y="136984"/>
                  </a:cubicBezTo>
                  <a:cubicBezTo>
                    <a:pt x="52118" y="137267"/>
                    <a:pt x="51659" y="137355"/>
                    <a:pt x="50916" y="137479"/>
                  </a:cubicBezTo>
                  <a:cubicBezTo>
                    <a:pt x="50422" y="137567"/>
                    <a:pt x="50050" y="137974"/>
                    <a:pt x="50033" y="138486"/>
                  </a:cubicBezTo>
                  <a:cubicBezTo>
                    <a:pt x="49980" y="139618"/>
                    <a:pt x="49874" y="141597"/>
                    <a:pt x="49732" y="141685"/>
                  </a:cubicBezTo>
                  <a:cubicBezTo>
                    <a:pt x="49586" y="141771"/>
                    <a:pt x="49445" y="141806"/>
                    <a:pt x="49310" y="141806"/>
                  </a:cubicBezTo>
                  <a:cubicBezTo>
                    <a:pt x="48780" y="141806"/>
                    <a:pt x="48349" y="141272"/>
                    <a:pt x="48053" y="141243"/>
                  </a:cubicBezTo>
                  <a:lnTo>
                    <a:pt x="48053" y="143011"/>
                  </a:lnTo>
                  <a:cubicBezTo>
                    <a:pt x="47806" y="143188"/>
                    <a:pt x="47594" y="143400"/>
                    <a:pt x="47382" y="143629"/>
                  </a:cubicBezTo>
                  <a:lnTo>
                    <a:pt x="47329" y="143682"/>
                  </a:lnTo>
                  <a:cubicBezTo>
                    <a:pt x="48000" y="143718"/>
                    <a:pt x="48778" y="143788"/>
                    <a:pt x="48919" y="143930"/>
                  </a:cubicBezTo>
                  <a:cubicBezTo>
                    <a:pt x="49025" y="144071"/>
                    <a:pt x="49131" y="144230"/>
                    <a:pt x="49202" y="144407"/>
                  </a:cubicBezTo>
                  <a:cubicBezTo>
                    <a:pt x="49361" y="144672"/>
                    <a:pt x="49644" y="145255"/>
                    <a:pt x="49785" y="145273"/>
                  </a:cubicBezTo>
                  <a:lnTo>
                    <a:pt x="50121" y="145273"/>
                  </a:lnTo>
                  <a:cubicBezTo>
                    <a:pt x="50726" y="145251"/>
                    <a:pt x="51182" y="145241"/>
                    <a:pt x="51528" y="145241"/>
                  </a:cubicBezTo>
                  <a:cubicBezTo>
                    <a:pt x="52282" y="145241"/>
                    <a:pt x="52505" y="145289"/>
                    <a:pt x="52578" y="145361"/>
                  </a:cubicBezTo>
                  <a:cubicBezTo>
                    <a:pt x="52648" y="145450"/>
                    <a:pt x="52737" y="145538"/>
                    <a:pt x="52807" y="145626"/>
                  </a:cubicBezTo>
                  <a:cubicBezTo>
                    <a:pt x="52931" y="145821"/>
                    <a:pt x="53302" y="146298"/>
                    <a:pt x="53444" y="146298"/>
                  </a:cubicBezTo>
                  <a:cubicBezTo>
                    <a:pt x="53479" y="146298"/>
                    <a:pt x="53585" y="146298"/>
                    <a:pt x="53726" y="146280"/>
                  </a:cubicBezTo>
                  <a:cubicBezTo>
                    <a:pt x="54220" y="146244"/>
                    <a:pt x="54705" y="146217"/>
                    <a:pt x="55126" y="146217"/>
                  </a:cubicBezTo>
                  <a:cubicBezTo>
                    <a:pt x="55729" y="146217"/>
                    <a:pt x="56200" y="146273"/>
                    <a:pt x="56377" y="146439"/>
                  </a:cubicBezTo>
                  <a:cubicBezTo>
                    <a:pt x="56855" y="146917"/>
                    <a:pt x="62121" y="150805"/>
                    <a:pt x="62687" y="150805"/>
                  </a:cubicBezTo>
                  <a:cubicBezTo>
                    <a:pt x="62828" y="150805"/>
                    <a:pt x="63076" y="150805"/>
                    <a:pt x="63376" y="150787"/>
                  </a:cubicBezTo>
                  <a:cubicBezTo>
                    <a:pt x="64089" y="150756"/>
                    <a:pt x="64701" y="150738"/>
                    <a:pt x="65204" y="150738"/>
                  </a:cubicBezTo>
                  <a:cubicBezTo>
                    <a:pt x="66122" y="150738"/>
                    <a:pt x="66680" y="150798"/>
                    <a:pt x="66840" y="150946"/>
                  </a:cubicBezTo>
                  <a:cubicBezTo>
                    <a:pt x="67070" y="151176"/>
                    <a:pt x="70375" y="155294"/>
                    <a:pt x="70375" y="155753"/>
                  </a:cubicBezTo>
                  <a:cubicBezTo>
                    <a:pt x="70286" y="156672"/>
                    <a:pt x="70127" y="157591"/>
                    <a:pt x="69915" y="158492"/>
                  </a:cubicBezTo>
                  <a:cubicBezTo>
                    <a:pt x="69827" y="158704"/>
                    <a:pt x="68483" y="159889"/>
                    <a:pt x="66186" y="161850"/>
                  </a:cubicBezTo>
                  <a:cubicBezTo>
                    <a:pt x="65762" y="162204"/>
                    <a:pt x="65426" y="162487"/>
                    <a:pt x="65373" y="162540"/>
                  </a:cubicBezTo>
                  <a:cubicBezTo>
                    <a:pt x="65310" y="162615"/>
                    <a:pt x="65087" y="162637"/>
                    <a:pt x="64444" y="162637"/>
                  </a:cubicBezTo>
                  <a:cubicBezTo>
                    <a:pt x="64182" y="162637"/>
                    <a:pt x="63849" y="162633"/>
                    <a:pt x="63429" y="162628"/>
                  </a:cubicBezTo>
                  <a:cubicBezTo>
                    <a:pt x="63104" y="162621"/>
                    <a:pt x="62709" y="162613"/>
                    <a:pt x="62345" y="162613"/>
                  </a:cubicBezTo>
                  <a:cubicBezTo>
                    <a:pt x="61818" y="162613"/>
                    <a:pt x="61357" y="162629"/>
                    <a:pt x="61273" y="162681"/>
                  </a:cubicBezTo>
                  <a:cubicBezTo>
                    <a:pt x="61096" y="162858"/>
                    <a:pt x="58410" y="164784"/>
                    <a:pt x="57897" y="164784"/>
                  </a:cubicBezTo>
                  <a:lnTo>
                    <a:pt x="57508" y="164784"/>
                  </a:lnTo>
                  <a:cubicBezTo>
                    <a:pt x="56187" y="164793"/>
                    <a:pt x="55084" y="164797"/>
                    <a:pt x="54164" y="164797"/>
                  </a:cubicBezTo>
                  <a:cubicBezTo>
                    <a:pt x="49621" y="164797"/>
                    <a:pt x="49526" y="164701"/>
                    <a:pt x="49467" y="164643"/>
                  </a:cubicBezTo>
                  <a:cubicBezTo>
                    <a:pt x="49308" y="164431"/>
                    <a:pt x="49167" y="164218"/>
                    <a:pt x="49025" y="164006"/>
                  </a:cubicBezTo>
                  <a:cubicBezTo>
                    <a:pt x="48707" y="163565"/>
                    <a:pt x="48142" y="162716"/>
                    <a:pt x="47983" y="162646"/>
                  </a:cubicBezTo>
                  <a:cubicBezTo>
                    <a:pt x="47399" y="162646"/>
                    <a:pt x="46498" y="162699"/>
                    <a:pt x="46339" y="162769"/>
                  </a:cubicBezTo>
                  <a:cubicBezTo>
                    <a:pt x="46215" y="163052"/>
                    <a:pt x="45173" y="163246"/>
                    <a:pt x="45014" y="163246"/>
                  </a:cubicBezTo>
                  <a:cubicBezTo>
                    <a:pt x="44855" y="163246"/>
                    <a:pt x="44625" y="162964"/>
                    <a:pt x="44271" y="162487"/>
                  </a:cubicBezTo>
                  <a:cubicBezTo>
                    <a:pt x="44112" y="162239"/>
                    <a:pt x="43847" y="161886"/>
                    <a:pt x="43759" y="161868"/>
                  </a:cubicBezTo>
                  <a:cubicBezTo>
                    <a:pt x="43529" y="161939"/>
                    <a:pt x="43299" y="162045"/>
                    <a:pt x="43087" y="162168"/>
                  </a:cubicBezTo>
                  <a:cubicBezTo>
                    <a:pt x="42575" y="162434"/>
                    <a:pt x="42009" y="162716"/>
                    <a:pt x="41691" y="162716"/>
                  </a:cubicBezTo>
                  <a:lnTo>
                    <a:pt x="41214" y="162716"/>
                  </a:lnTo>
                  <a:cubicBezTo>
                    <a:pt x="40605" y="162708"/>
                    <a:pt x="40064" y="162703"/>
                    <a:pt x="39591" y="162703"/>
                  </a:cubicBezTo>
                  <a:cubicBezTo>
                    <a:pt x="38115" y="162703"/>
                    <a:pt x="37305" y="162746"/>
                    <a:pt x="37184" y="162840"/>
                  </a:cubicBezTo>
                  <a:cubicBezTo>
                    <a:pt x="37025" y="162946"/>
                    <a:pt x="35506" y="164024"/>
                    <a:pt x="33190" y="165632"/>
                  </a:cubicBezTo>
                  <a:cubicBezTo>
                    <a:pt x="31635" y="166710"/>
                    <a:pt x="29868" y="167912"/>
                    <a:pt x="29762" y="168018"/>
                  </a:cubicBezTo>
                  <a:cubicBezTo>
                    <a:pt x="29620" y="168230"/>
                    <a:pt x="29497" y="168442"/>
                    <a:pt x="29408" y="168690"/>
                  </a:cubicBezTo>
                  <a:cubicBezTo>
                    <a:pt x="29108" y="169326"/>
                    <a:pt x="28966" y="169573"/>
                    <a:pt x="28790" y="169573"/>
                  </a:cubicBezTo>
                  <a:cubicBezTo>
                    <a:pt x="28701" y="169573"/>
                    <a:pt x="19370" y="169538"/>
                    <a:pt x="18628" y="169344"/>
                  </a:cubicBezTo>
                  <a:lnTo>
                    <a:pt x="18610" y="169344"/>
                  </a:lnTo>
                  <a:cubicBezTo>
                    <a:pt x="18504" y="169291"/>
                    <a:pt x="16065" y="168036"/>
                    <a:pt x="15747" y="167700"/>
                  </a:cubicBezTo>
                  <a:cubicBezTo>
                    <a:pt x="15535" y="167488"/>
                    <a:pt x="15394" y="166675"/>
                    <a:pt x="15252" y="165933"/>
                  </a:cubicBezTo>
                  <a:lnTo>
                    <a:pt x="14598" y="165526"/>
                  </a:lnTo>
                  <a:cubicBezTo>
                    <a:pt x="14280" y="165623"/>
                    <a:pt x="14063" y="165651"/>
                    <a:pt x="13909" y="165651"/>
                  </a:cubicBezTo>
                  <a:cubicBezTo>
                    <a:pt x="13696" y="165651"/>
                    <a:pt x="13602" y="165597"/>
                    <a:pt x="13520" y="165597"/>
                  </a:cubicBezTo>
                  <a:cubicBezTo>
                    <a:pt x="13379" y="165597"/>
                    <a:pt x="13927" y="165491"/>
                    <a:pt x="13874" y="165367"/>
                  </a:cubicBezTo>
                  <a:lnTo>
                    <a:pt x="13874" y="165367"/>
                  </a:lnTo>
                  <a:cubicBezTo>
                    <a:pt x="12937" y="165791"/>
                    <a:pt x="12036" y="166286"/>
                    <a:pt x="11152" y="166816"/>
                  </a:cubicBezTo>
                  <a:cubicBezTo>
                    <a:pt x="10198" y="167205"/>
                    <a:pt x="9720" y="167506"/>
                    <a:pt x="9720" y="167682"/>
                  </a:cubicBezTo>
                  <a:cubicBezTo>
                    <a:pt x="9720" y="167788"/>
                    <a:pt x="9773" y="168160"/>
                    <a:pt x="9862" y="168707"/>
                  </a:cubicBezTo>
                  <a:cubicBezTo>
                    <a:pt x="9915" y="169026"/>
                    <a:pt x="9968" y="169361"/>
                    <a:pt x="9986" y="169503"/>
                  </a:cubicBezTo>
                  <a:cubicBezTo>
                    <a:pt x="9632" y="169609"/>
                    <a:pt x="9279" y="169679"/>
                    <a:pt x="8925" y="169733"/>
                  </a:cubicBezTo>
                  <a:cubicBezTo>
                    <a:pt x="8766" y="170351"/>
                    <a:pt x="8324" y="171694"/>
                    <a:pt x="8095" y="171924"/>
                  </a:cubicBezTo>
                  <a:cubicBezTo>
                    <a:pt x="8059" y="172065"/>
                    <a:pt x="8059" y="172207"/>
                    <a:pt x="8095" y="172348"/>
                  </a:cubicBezTo>
                  <a:cubicBezTo>
                    <a:pt x="8148" y="172914"/>
                    <a:pt x="8289" y="173939"/>
                    <a:pt x="8042" y="174363"/>
                  </a:cubicBezTo>
                  <a:lnTo>
                    <a:pt x="8218" y="174557"/>
                  </a:lnTo>
                  <a:cubicBezTo>
                    <a:pt x="8322" y="174661"/>
                    <a:pt x="8490" y="174699"/>
                    <a:pt x="8686" y="174699"/>
                  </a:cubicBezTo>
                  <a:cubicBezTo>
                    <a:pt x="9185" y="174699"/>
                    <a:pt x="9864" y="174457"/>
                    <a:pt x="10133" y="174457"/>
                  </a:cubicBezTo>
                  <a:cubicBezTo>
                    <a:pt x="10207" y="174457"/>
                    <a:pt x="10251" y="174475"/>
                    <a:pt x="10251" y="174522"/>
                  </a:cubicBezTo>
                  <a:cubicBezTo>
                    <a:pt x="10251" y="174787"/>
                    <a:pt x="8713" y="176325"/>
                    <a:pt x="9067" y="176325"/>
                  </a:cubicBezTo>
                  <a:cubicBezTo>
                    <a:pt x="9438" y="176325"/>
                    <a:pt x="11435" y="174434"/>
                    <a:pt x="11930" y="174434"/>
                  </a:cubicBezTo>
                  <a:cubicBezTo>
                    <a:pt x="12424" y="174434"/>
                    <a:pt x="13379" y="172383"/>
                    <a:pt x="13909" y="172383"/>
                  </a:cubicBezTo>
                  <a:cubicBezTo>
                    <a:pt x="14457" y="172383"/>
                    <a:pt x="17938" y="171341"/>
                    <a:pt x="18804" y="171341"/>
                  </a:cubicBezTo>
                  <a:cubicBezTo>
                    <a:pt x="19670" y="171341"/>
                    <a:pt x="22127" y="172048"/>
                    <a:pt x="22286" y="172207"/>
                  </a:cubicBezTo>
                  <a:cubicBezTo>
                    <a:pt x="22445" y="172366"/>
                    <a:pt x="21473" y="172578"/>
                    <a:pt x="20837" y="172578"/>
                  </a:cubicBezTo>
                  <a:cubicBezTo>
                    <a:pt x="20218" y="172578"/>
                    <a:pt x="18575" y="173302"/>
                    <a:pt x="18575" y="173515"/>
                  </a:cubicBezTo>
                  <a:cubicBezTo>
                    <a:pt x="18575" y="173744"/>
                    <a:pt x="20784" y="174469"/>
                    <a:pt x="19847" y="174469"/>
                  </a:cubicBezTo>
                  <a:cubicBezTo>
                    <a:pt x="18910" y="174469"/>
                    <a:pt x="17002" y="175017"/>
                    <a:pt x="16684" y="175017"/>
                  </a:cubicBezTo>
                  <a:cubicBezTo>
                    <a:pt x="16366" y="175017"/>
                    <a:pt x="15676" y="174239"/>
                    <a:pt x="15358" y="174239"/>
                  </a:cubicBezTo>
                  <a:cubicBezTo>
                    <a:pt x="15022" y="174239"/>
                    <a:pt x="15128" y="175423"/>
                    <a:pt x="14634" y="175423"/>
                  </a:cubicBezTo>
                  <a:cubicBezTo>
                    <a:pt x="14121" y="175423"/>
                    <a:pt x="12142" y="175158"/>
                    <a:pt x="11647" y="175158"/>
                  </a:cubicBezTo>
                  <a:cubicBezTo>
                    <a:pt x="11134" y="175158"/>
                    <a:pt x="8695" y="177191"/>
                    <a:pt x="8695" y="177738"/>
                  </a:cubicBezTo>
                  <a:cubicBezTo>
                    <a:pt x="8695" y="178286"/>
                    <a:pt x="8324" y="180672"/>
                    <a:pt x="8837" y="180672"/>
                  </a:cubicBezTo>
                  <a:cubicBezTo>
                    <a:pt x="9332" y="180672"/>
                    <a:pt x="10003" y="180177"/>
                    <a:pt x="10692" y="180177"/>
                  </a:cubicBezTo>
                  <a:cubicBezTo>
                    <a:pt x="11364" y="180177"/>
                    <a:pt x="11329" y="180495"/>
                    <a:pt x="11329" y="180902"/>
                  </a:cubicBezTo>
                  <a:cubicBezTo>
                    <a:pt x="11329" y="181308"/>
                    <a:pt x="12318" y="181803"/>
                    <a:pt x="12142" y="182899"/>
                  </a:cubicBezTo>
                  <a:cubicBezTo>
                    <a:pt x="11965" y="183977"/>
                    <a:pt x="12619" y="185356"/>
                    <a:pt x="12902" y="185656"/>
                  </a:cubicBezTo>
                  <a:cubicBezTo>
                    <a:pt x="13202" y="185956"/>
                    <a:pt x="12725" y="186434"/>
                    <a:pt x="12318" y="186434"/>
                  </a:cubicBezTo>
                  <a:cubicBezTo>
                    <a:pt x="11955" y="186434"/>
                    <a:pt x="10968" y="185527"/>
                    <a:pt x="10575" y="185527"/>
                  </a:cubicBezTo>
                  <a:cubicBezTo>
                    <a:pt x="10528" y="185527"/>
                    <a:pt x="10491" y="185540"/>
                    <a:pt x="10463" y="185568"/>
                  </a:cubicBezTo>
                  <a:cubicBezTo>
                    <a:pt x="10198" y="185833"/>
                    <a:pt x="10321" y="187105"/>
                    <a:pt x="10869" y="187653"/>
                  </a:cubicBezTo>
                  <a:cubicBezTo>
                    <a:pt x="11417" y="188183"/>
                    <a:pt x="13679" y="188201"/>
                    <a:pt x="14086" y="188607"/>
                  </a:cubicBezTo>
                  <a:cubicBezTo>
                    <a:pt x="14492" y="189014"/>
                    <a:pt x="12584" y="189226"/>
                    <a:pt x="12584" y="189774"/>
                  </a:cubicBezTo>
                  <a:cubicBezTo>
                    <a:pt x="12584" y="190322"/>
                    <a:pt x="13679" y="190905"/>
                    <a:pt x="14086" y="191506"/>
                  </a:cubicBezTo>
                  <a:cubicBezTo>
                    <a:pt x="14224" y="191704"/>
                    <a:pt x="14414" y="191761"/>
                    <a:pt x="14616" y="191761"/>
                  </a:cubicBezTo>
                  <a:cubicBezTo>
                    <a:pt x="14898" y="191761"/>
                    <a:pt x="15201" y="191650"/>
                    <a:pt x="15416" y="191650"/>
                  </a:cubicBezTo>
                  <a:cubicBezTo>
                    <a:pt x="15501" y="191650"/>
                    <a:pt x="15573" y="191668"/>
                    <a:pt x="15623" y="191718"/>
                  </a:cubicBezTo>
                  <a:cubicBezTo>
                    <a:pt x="15906" y="191983"/>
                    <a:pt x="14457" y="192672"/>
                    <a:pt x="14457" y="192990"/>
                  </a:cubicBezTo>
                  <a:cubicBezTo>
                    <a:pt x="14457" y="193308"/>
                    <a:pt x="14280" y="193627"/>
                    <a:pt x="14810" y="193627"/>
                  </a:cubicBezTo>
                  <a:cubicBezTo>
                    <a:pt x="15239" y="193627"/>
                    <a:pt x="17086" y="193432"/>
                    <a:pt x="17953" y="193432"/>
                  </a:cubicBezTo>
                  <a:cubicBezTo>
                    <a:pt x="18194" y="193432"/>
                    <a:pt x="18360" y="193447"/>
                    <a:pt x="18398" y="193485"/>
                  </a:cubicBezTo>
                  <a:cubicBezTo>
                    <a:pt x="18575" y="193662"/>
                    <a:pt x="17991" y="194174"/>
                    <a:pt x="17514" y="194634"/>
                  </a:cubicBezTo>
                  <a:cubicBezTo>
                    <a:pt x="17448" y="194700"/>
                    <a:pt x="17273" y="194719"/>
                    <a:pt x="17052" y="194719"/>
                  </a:cubicBezTo>
                  <a:cubicBezTo>
                    <a:pt x="16740" y="194719"/>
                    <a:pt x="16336" y="194681"/>
                    <a:pt x="16018" y="194681"/>
                  </a:cubicBezTo>
                  <a:cubicBezTo>
                    <a:pt x="15721" y="194681"/>
                    <a:pt x="15500" y="194715"/>
                    <a:pt x="15500" y="194846"/>
                  </a:cubicBezTo>
                  <a:cubicBezTo>
                    <a:pt x="15500" y="195199"/>
                    <a:pt x="16860" y="195836"/>
                    <a:pt x="17355" y="195836"/>
                  </a:cubicBezTo>
                  <a:cubicBezTo>
                    <a:pt x="17850" y="195836"/>
                    <a:pt x="20731" y="194510"/>
                    <a:pt x="21544" y="194510"/>
                  </a:cubicBezTo>
                  <a:cubicBezTo>
                    <a:pt x="22374" y="194510"/>
                    <a:pt x="23435" y="196755"/>
                    <a:pt x="23983" y="196755"/>
                  </a:cubicBezTo>
                  <a:cubicBezTo>
                    <a:pt x="24531" y="196755"/>
                    <a:pt x="28472" y="196083"/>
                    <a:pt x="28807" y="196083"/>
                  </a:cubicBezTo>
                  <a:cubicBezTo>
                    <a:pt x="29143" y="196083"/>
                    <a:pt x="29179" y="193786"/>
                    <a:pt x="29179" y="193238"/>
                  </a:cubicBezTo>
                  <a:cubicBezTo>
                    <a:pt x="29179" y="192708"/>
                    <a:pt x="31989" y="192708"/>
                    <a:pt x="32802" y="192708"/>
                  </a:cubicBezTo>
                  <a:cubicBezTo>
                    <a:pt x="33614" y="192708"/>
                    <a:pt x="37414" y="196048"/>
                    <a:pt x="37962" y="196048"/>
                  </a:cubicBezTo>
                  <a:cubicBezTo>
                    <a:pt x="38510" y="196048"/>
                    <a:pt x="42257" y="194828"/>
                    <a:pt x="42858" y="194333"/>
                  </a:cubicBezTo>
                  <a:cubicBezTo>
                    <a:pt x="43441" y="193839"/>
                    <a:pt x="46286" y="190710"/>
                    <a:pt x="46834" y="190163"/>
                  </a:cubicBezTo>
                  <a:cubicBezTo>
                    <a:pt x="46940" y="190053"/>
                    <a:pt x="47120" y="190009"/>
                    <a:pt x="47343" y="190009"/>
                  </a:cubicBezTo>
                  <a:cubicBezTo>
                    <a:pt x="48238" y="190009"/>
                    <a:pt x="49838" y="190710"/>
                    <a:pt x="50263" y="190710"/>
                  </a:cubicBezTo>
                  <a:cubicBezTo>
                    <a:pt x="50755" y="190710"/>
                    <a:pt x="52931" y="188812"/>
                    <a:pt x="53367" y="188812"/>
                  </a:cubicBezTo>
                  <a:cubicBezTo>
                    <a:pt x="53417" y="188812"/>
                    <a:pt x="53444" y="188836"/>
                    <a:pt x="53444" y="188890"/>
                  </a:cubicBezTo>
                  <a:cubicBezTo>
                    <a:pt x="53444" y="189438"/>
                    <a:pt x="51888" y="191983"/>
                    <a:pt x="51888" y="192973"/>
                  </a:cubicBezTo>
                  <a:cubicBezTo>
                    <a:pt x="51888" y="193962"/>
                    <a:pt x="54062" y="198593"/>
                    <a:pt x="54062" y="200042"/>
                  </a:cubicBezTo>
                  <a:cubicBezTo>
                    <a:pt x="54062" y="201491"/>
                    <a:pt x="49397" y="209497"/>
                    <a:pt x="49397" y="209497"/>
                  </a:cubicBezTo>
                  <a:lnTo>
                    <a:pt x="82481" y="209497"/>
                  </a:lnTo>
                  <a:lnTo>
                    <a:pt x="82481" y="0"/>
                  </a:ln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1" name="Google Shape;513;p24">
              <a:extLst>
                <a:ext uri="{FF2B5EF4-FFF2-40B4-BE49-F238E27FC236}">
                  <a16:creationId xmlns:a16="http://schemas.microsoft.com/office/drawing/2014/main" id="{BF2F096A-12A2-4BB0-9CD8-5A9CD22C5D0E}"/>
                </a:ext>
              </a:extLst>
            </p:cNvPr>
            <p:cNvSpPr/>
            <p:nvPr/>
          </p:nvSpPr>
          <p:spPr>
            <a:xfrm>
              <a:off x="4212050" y="2429400"/>
              <a:ext cx="445825" cy="359900"/>
            </a:xfrm>
            <a:custGeom>
              <a:avLst/>
              <a:gdLst/>
              <a:ahLst/>
              <a:cxnLst/>
              <a:rect l="l" t="t" r="r" b="b"/>
              <a:pathLst>
                <a:path w="17833" h="14396" extrusionOk="0">
                  <a:moveTo>
                    <a:pt x="11489" y="1"/>
                  </a:moveTo>
                  <a:cubicBezTo>
                    <a:pt x="11437" y="1"/>
                    <a:pt x="11391" y="21"/>
                    <a:pt x="11364" y="61"/>
                  </a:cubicBezTo>
                  <a:lnTo>
                    <a:pt x="11241" y="184"/>
                  </a:lnTo>
                  <a:cubicBezTo>
                    <a:pt x="10587" y="838"/>
                    <a:pt x="10216" y="1192"/>
                    <a:pt x="10127" y="1209"/>
                  </a:cubicBezTo>
                  <a:cubicBezTo>
                    <a:pt x="9862" y="1192"/>
                    <a:pt x="3641" y="573"/>
                    <a:pt x="3182" y="573"/>
                  </a:cubicBezTo>
                  <a:cubicBezTo>
                    <a:pt x="2828" y="573"/>
                    <a:pt x="1096" y="1598"/>
                    <a:pt x="1" y="2305"/>
                  </a:cubicBezTo>
                  <a:cubicBezTo>
                    <a:pt x="177" y="3542"/>
                    <a:pt x="1556" y="6988"/>
                    <a:pt x="1185" y="7766"/>
                  </a:cubicBezTo>
                  <a:cubicBezTo>
                    <a:pt x="1662" y="7996"/>
                    <a:pt x="2263" y="8226"/>
                    <a:pt x="2704" y="8226"/>
                  </a:cubicBezTo>
                  <a:cubicBezTo>
                    <a:pt x="2722" y="8225"/>
                    <a:pt x="2740" y="8225"/>
                    <a:pt x="2758" y="8225"/>
                  </a:cubicBezTo>
                  <a:cubicBezTo>
                    <a:pt x="3677" y="8225"/>
                    <a:pt x="5890" y="8654"/>
                    <a:pt x="6133" y="8862"/>
                  </a:cubicBezTo>
                  <a:cubicBezTo>
                    <a:pt x="6045" y="9092"/>
                    <a:pt x="5939" y="9321"/>
                    <a:pt x="5815" y="9533"/>
                  </a:cubicBezTo>
                  <a:cubicBezTo>
                    <a:pt x="5621" y="9869"/>
                    <a:pt x="5444" y="10187"/>
                    <a:pt x="5444" y="10382"/>
                  </a:cubicBezTo>
                  <a:cubicBezTo>
                    <a:pt x="5479" y="10735"/>
                    <a:pt x="5515" y="11071"/>
                    <a:pt x="5585" y="11407"/>
                  </a:cubicBezTo>
                  <a:lnTo>
                    <a:pt x="6981" y="11407"/>
                  </a:lnTo>
                  <a:cubicBezTo>
                    <a:pt x="7476" y="11407"/>
                    <a:pt x="8289" y="13280"/>
                    <a:pt x="8607" y="13952"/>
                  </a:cubicBezTo>
                  <a:cubicBezTo>
                    <a:pt x="8811" y="14359"/>
                    <a:pt x="8835" y="14395"/>
                    <a:pt x="9143" y="14395"/>
                  </a:cubicBezTo>
                  <a:cubicBezTo>
                    <a:pt x="9209" y="14395"/>
                    <a:pt x="9288" y="14394"/>
                    <a:pt x="9385" y="14394"/>
                  </a:cubicBezTo>
                  <a:cubicBezTo>
                    <a:pt x="10569" y="14305"/>
                    <a:pt x="12266" y="14164"/>
                    <a:pt x="12442" y="13987"/>
                  </a:cubicBezTo>
                  <a:cubicBezTo>
                    <a:pt x="12566" y="13846"/>
                    <a:pt x="12637" y="13669"/>
                    <a:pt x="12690" y="13510"/>
                  </a:cubicBezTo>
                  <a:cubicBezTo>
                    <a:pt x="12778" y="13174"/>
                    <a:pt x="12937" y="12874"/>
                    <a:pt x="13167" y="12626"/>
                  </a:cubicBezTo>
                  <a:cubicBezTo>
                    <a:pt x="13414" y="12414"/>
                    <a:pt x="13662" y="12220"/>
                    <a:pt x="13927" y="12043"/>
                  </a:cubicBezTo>
                  <a:cubicBezTo>
                    <a:pt x="14669" y="11530"/>
                    <a:pt x="15588" y="10877"/>
                    <a:pt x="15783" y="10240"/>
                  </a:cubicBezTo>
                  <a:cubicBezTo>
                    <a:pt x="15906" y="9781"/>
                    <a:pt x="15942" y="9304"/>
                    <a:pt x="15889" y="8826"/>
                  </a:cubicBezTo>
                  <a:cubicBezTo>
                    <a:pt x="15853" y="8385"/>
                    <a:pt x="16012" y="7960"/>
                    <a:pt x="16330" y="7660"/>
                  </a:cubicBezTo>
                  <a:lnTo>
                    <a:pt x="17391" y="6600"/>
                  </a:lnTo>
                  <a:cubicBezTo>
                    <a:pt x="17833" y="6158"/>
                    <a:pt x="17479" y="4603"/>
                    <a:pt x="17267" y="4391"/>
                  </a:cubicBezTo>
                  <a:cubicBezTo>
                    <a:pt x="17073" y="4320"/>
                    <a:pt x="16348" y="3648"/>
                    <a:pt x="15765" y="3100"/>
                  </a:cubicBezTo>
                  <a:cubicBezTo>
                    <a:pt x="14616" y="2005"/>
                    <a:pt x="13839" y="1298"/>
                    <a:pt x="13520" y="1298"/>
                  </a:cubicBezTo>
                  <a:cubicBezTo>
                    <a:pt x="13344" y="1298"/>
                    <a:pt x="13167" y="1315"/>
                    <a:pt x="12990" y="1368"/>
                  </a:cubicBezTo>
                  <a:cubicBezTo>
                    <a:pt x="12889" y="1389"/>
                    <a:pt x="12803" y="1404"/>
                    <a:pt x="12724" y="1404"/>
                  </a:cubicBezTo>
                  <a:cubicBezTo>
                    <a:pt x="12598" y="1404"/>
                    <a:pt x="12492" y="1365"/>
                    <a:pt x="12372" y="1245"/>
                  </a:cubicBezTo>
                  <a:cubicBezTo>
                    <a:pt x="12213" y="1050"/>
                    <a:pt x="12071" y="821"/>
                    <a:pt x="11983" y="591"/>
                  </a:cubicBezTo>
                  <a:cubicBezTo>
                    <a:pt x="11788" y="237"/>
                    <a:pt x="11682" y="25"/>
                    <a:pt x="11541" y="8"/>
                  </a:cubicBezTo>
                  <a:cubicBezTo>
                    <a:pt x="11523" y="3"/>
                    <a:pt x="11506" y="1"/>
                    <a:pt x="11489"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2" name="Google Shape;514;p24">
              <a:extLst>
                <a:ext uri="{FF2B5EF4-FFF2-40B4-BE49-F238E27FC236}">
                  <a16:creationId xmlns:a16="http://schemas.microsoft.com/office/drawing/2014/main" id="{2FB0D81B-D7B0-4C2D-9255-DFDA22823A2A}"/>
                </a:ext>
              </a:extLst>
            </p:cNvPr>
            <p:cNvSpPr/>
            <p:nvPr/>
          </p:nvSpPr>
          <p:spPr>
            <a:xfrm>
              <a:off x="4090550" y="2622650"/>
              <a:ext cx="274400" cy="93775"/>
            </a:xfrm>
            <a:custGeom>
              <a:avLst/>
              <a:gdLst/>
              <a:ahLst/>
              <a:cxnLst/>
              <a:rect l="l" t="t" r="r" b="b"/>
              <a:pathLst>
                <a:path w="10976" h="3751" extrusionOk="0">
                  <a:moveTo>
                    <a:pt x="6045" y="1"/>
                  </a:moveTo>
                  <a:cubicBezTo>
                    <a:pt x="5904" y="329"/>
                    <a:pt x="5194" y="1046"/>
                    <a:pt x="4875" y="1046"/>
                  </a:cubicBezTo>
                  <a:cubicBezTo>
                    <a:pt x="4833" y="1046"/>
                    <a:pt x="4798" y="1034"/>
                    <a:pt x="4772" y="1008"/>
                  </a:cubicBezTo>
                  <a:cubicBezTo>
                    <a:pt x="4542" y="778"/>
                    <a:pt x="4701" y="372"/>
                    <a:pt x="4260" y="230"/>
                  </a:cubicBezTo>
                  <a:cubicBezTo>
                    <a:pt x="4171" y="203"/>
                    <a:pt x="4066" y="192"/>
                    <a:pt x="3950" y="192"/>
                  </a:cubicBezTo>
                  <a:cubicBezTo>
                    <a:pt x="3461" y="192"/>
                    <a:pt x="2776" y="396"/>
                    <a:pt x="2333" y="496"/>
                  </a:cubicBezTo>
                  <a:cubicBezTo>
                    <a:pt x="1803" y="602"/>
                    <a:pt x="1838" y="1733"/>
                    <a:pt x="1838" y="2104"/>
                  </a:cubicBezTo>
                  <a:cubicBezTo>
                    <a:pt x="1838" y="2457"/>
                    <a:pt x="601" y="3429"/>
                    <a:pt x="0" y="3747"/>
                  </a:cubicBezTo>
                  <a:cubicBezTo>
                    <a:pt x="0" y="3749"/>
                    <a:pt x="88" y="3750"/>
                    <a:pt x="247" y="3750"/>
                  </a:cubicBezTo>
                  <a:cubicBezTo>
                    <a:pt x="1544" y="3750"/>
                    <a:pt x="7613" y="3692"/>
                    <a:pt x="10445" y="3677"/>
                  </a:cubicBezTo>
                  <a:cubicBezTo>
                    <a:pt x="10375" y="3341"/>
                    <a:pt x="10339" y="2988"/>
                    <a:pt x="10304" y="2652"/>
                  </a:cubicBezTo>
                  <a:cubicBezTo>
                    <a:pt x="10304" y="2457"/>
                    <a:pt x="10481" y="2139"/>
                    <a:pt x="10675" y="1786"/>
                  </a:cubicBezTo>
                  <a:cubicBezTo>
                    <a:pt x="10799" y="1574"/>
                    <a:pt x="10905" y="1362"/>
                    <a:pt x="10975" y="1132"/>
                  </a:cubicBezTo>
                  <a:cubicBezTo>
                    <a:pt x="10746" y="902"/>
                    <a:pt x="8448" y="460"/>
                    <a:pt x="7564" y="460"/>
                  </a:cubicBezTo>
                  <a:cubicBezTo>
                    <a:pt x="7123" y="460"/>
                    <a:pt x="6522" y="230"/>
                    <a:pt x="604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3" name="Google Shape;515;p24">
              <a:extLst>
                <a:ext uri="{FF2B5EF4-FFF2-40B4-BE49-F238E27FC236}">
                  <a16:creationId xmlns:a16="http://schemas.microsoft.com/office/drawing/2014/main" id="{03D22AD0-7597-4BA8-B905-F38655025475}"/>
                </a:ext>
              </a:extLst>
            </p:cNvPr>
            <p:cNvSpPr/>
            <p:nvPr/>
          </p:nvSpPr>
          <p:spPr>
            <a:xfrm>
              <a:off x="4155950" y="4321475"/>
              <a:ext cx="25" cy="25"/>
            </a:xfrm>
            <a:custGeom>
              <a:avLst/>
              <a:gdLst/>
              <a:ahLst/>
              <a:cxnLst/>
              <a:rect l="l" t="t" r="r" b="b"/>
              <a:pathLst>
                <a:path w="1" h="1" extrusionOk="0">
                  <a:moveTo>
                    <a:pt x="0" y="1"/>
                  </a:move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4" name="Google Shape;516;p24">
              <a:extLst>
                <a:ext uri="{FF2B5EF4-FFF2-40B4-BE49-F238E27FC236}">
                  <a16:creationId xmlns:a16="http://schemas.microsoft.com/office/drawing/2014/main" id="{E99B842E-7CAE-479B-B405-0AB9F2A0B5D5}"/>
                </a:ext>
              </a:extLst>
            </p:cNvPr>
            <p:cNvSpPr/>
            <p:nvPr/>
          </p:nvSpPr>
          <p:spPr>
            <a:xfrm>
              <a:off x="4155950" y="4242125"/>
              <a:ext cx="159075" cy="191600"/>
            </a:xfrm>
            <a:custGeom>
              <a:avLst/>
              <a:gdLst/>
              <a:ahLst/>
              <a:cxnLst/>
              <a:rect l="l" t="t" r="r" b="b"/>
              <a:pathLst>
                <a:path w="6363" h="7664" extrusionOk="0">
                  <a:moveTo>
                    <a:pt x="2503" y="1"/>
                  </a:moveTo>
                  <a:cubicBezTo>
                    <a:pt x="2480" y="1"/>
                    <a:pt x="2458" y="5"/>
                    <a:pt x="2439" y="11"/>
                  </a:cubicBezTo>
                  <a:cubicBezTo>
                    <a:pt x="2068" y="170"/>
                    <a:pt x="0" y="2715"/>
                    <a:pt x="0" y="2998"/>
                  </a:cubicBezTo>
                  <a:cubicBezTo>
                    <a:pt x="18" y="3069"/>
                    <a:pt x="35" y="3122"/>
                    <a:pt x="53" y="3175"/>
                  </a:cubicBezTo>
                  <a:cubicBezTo>
                    <a:pt x="212" y="3581"/>
                    <a:pt x="972" y="5137"/>
                    <a:pt x="1043" y="5207"/>
                  </a:cubicBezTo>
                  <a:cubicBezTo>
                    <a:pt x="1414" y="5985"/>
                    <a:pt x="1679" y="6815"/>
                    <a:pt x="1873" y="7664"/>
                  </a:cubicBezTo>
                  <a:cubicBezTo>
                    <a:pt x="1944" y="7505"/>
                    <a:pt x="1997" y="7328"/>
                    <a:pt x="2032" y="7169"/>
                  </a:cubicBezTo>
                  <a:cubicBezTo>
                    <a:pt x="2068" y="6975"/>
                    <a:pt x="3234" y="6215"/>
                    <a:pt x="4224" y="5684"/>
                  </a:cubicBezTo>
                  <a:cubicBezTo>
                    <a:pt x="4436" y="5571"/>
                    <a:pt x="4580" y="5529"/>
                    <a:pt x="4686" y="5529"/>
                  </a:cubicBezTo>
                  <a:cubicBezTo>
                    <a:pt x="4828" y="5529"/>
                    <a:pt x="4903" y="5604"/>
                    <a:pt x="4984" y="5684"/>
                  </a:cubicBezTo>
                  <a:cubicBezTo>
                    <a:pt x="5010" y="5710"/>
                    <a:pt x="5053" y="5720"/>
                    <a:pt x="5105" y="5720"/>
                  </a:cubicBezTo>
                  <a:cubicBezTo>
                    <a:pt x="5229" y="5720"/>
                    <a:pt x="5407" y="5667"/>
                    <a:pt x="5532" y="5667"/>
                  </a:cubicBezTo>
                  <a:cubicBezTo>
                    <a:pt x="5797" y="5013"/>
                    <a:pt x="6362" y="3581"/>
                    <a:pt x="6044" y="3281"/>
                  </a:cubicBezTo>
                  <a:cubicBezTo>
                    <a:pt x="5850" y="3086"/>
                    <a:pt x="4842" y="2150"/>
                    <a:pt x="3959" y="1301"/>
                  </a:cubicBezTo>
                  <a:cubicBezTo>
                    <a:pt x="3305" y="701"/>
                    <a:pt x="2686" y="117"/>
                    <a:pt x="2616" y="47"/>
                  </a:cubicBezTo>
                  <a:cubicBezTo>
                    <a:pt x="2582" y="13"/>
                    <a:pt x="2541" y="1"/>
                    <a:pt x="2503"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5" name="Google Shape;517;p24">
              <a:extLst>
                <a:ext uri="{FF2B5EF4-FFF2-40B4-BE49-F238E27FC236}">
                  <a16:creationId xmlns:a16="http://schemas.microsoft.com/office/drawing/2014/main" id="{B2737275-0EAE-49B8-AABC-3C14957DA128}"/>
                </a:ext>
              </a:extLst>
            </p:cNvPr>
            <p:cNvSpPr/>
            <p:nvPr/>
          </p:nvSpPr>
          <p:spPr>
            <a:xfrm>
              <a:off x="3962425" y="4211025"/>
              <a:ext cx="144500" cy="201950"/>
            </a:xfrm>
            <a:custGeom>
              <a:avLst/>
              <a:gdLst/>
              <a:ahLst/>
              <a:cxnLst/>
              <a:rect l="l" t="t" r="r" b="b"/>
              <a:pathLst>
                <a:path w="5780" h="8078" extrusionOk="0">
                  <a:moveTo>
                    <a:pt x="4206" y="1"/>
                  </a:moveTo>
                  <a:cubicBezTo>
                    <a:pt x="3676" y="707"/>
                    <a:pt x="2598" y="1980"/>
                    <a:pt x="1449" y="3288"/>
                  </a:cubicBezTo>
                  <a:cubicBezTo>
                    <a:pt x="1025" y="3765"/>
                    <a:pt x="548" y="4295"/>
                    <a:pt x="0" y="4914"/>
                  </a:cubicBezTo>
                  <a:cubicBezTo>
                    <a:pt x="1838" y="6398"/>
                    <a:pt x="3128" y="7582"/>
                    <a:pt x="3376" y="8077"/>
                  </a:cubicBezTo>
                  <a:cubicBezTo>
                    <a:pt x="4436" y="6628"/>
                    <a:pt x="5620" y="4984"/>
                    <a:pt x="5620" y="4808"/>
                  </a:cubicBezTo>
                  <a:cubicBezTo>
                    <a:pt x="5620" y="4649"/>
                    <a:pt x="5656" y="4472"/>
                    <a:pt x="5691" y="4330"/>
                  </a:cubicBezTo>
                  <a:cubicBezTo>
                    <a:pt x="5762" y="3853"/>
                    <a:pt x="5779" y="3447"/>
                    <a:pt x="5603" y="3252"/>
                  </a:cubicBezTo>
                  <a:cubicBezTo>
                    <a:pt x="5408" y="3058"/>
                    <a:pt x="5461" y="2775"/>
                    <a:pt x="5479" y="2475"/>
                  </a:cubicBezTo>
                  <a:cubicBezTo>
                    <a:pt x="5479" y="2369"/>
                    <a:pt x="5497" y="2280"/>
                    <a:pt x="5497" y="2174"/>
                  </a:cubicBezTo>
                  <a:cubicBezTo>
                    <a:pt x="5497" y="1803"/>
                    <a:pt x="4454" y="354"/>
                    <a:pt x="4206"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6" name="Google Shape;518;p24">
              <a:extLst>
                <a:ext uri="{FF2B5EF4-FFF2-40B4-BE49-F238E27FC236}">
                  <a16:creationId xmlns:a16="http://schemas.microsoft.com/office/drawing/2014/main" id="{66425095-BE37-4DD7-9B46-FA674D4C5514}"/>
                </a:ext>
              </a:extLst>
            </p:cNvPr>
            <p:cNvSpPr/>
            <p:nvPr/>
          </p:nvSpPr>
          <p:spPr>
            <a:xfrm>
              <a:off x="3474200" y="3178675"/>
              <a:ext cx="553200" cy="318825"/>
            </a:xfrm>
            <a:custGeom>
              <a:avLst/>
              <a:gdLst/>
              <a:ahLst/>
              <a:cxnLst/>
              <a:rect l="l" t="t" r="r" b="b"/>
              <a:pathLst>
                <a:path w="22128" h="12753" extrusionOk="0">
                  <a:moveTo>
                    <a:pt x="8779" y="1"/>
                  </a:moveTo>
                  <a:cubicBezTo>
                    <a:pt x="7948" y="1"/>
                    <a:pt x="6745" y="136"/>
                    <a:pt x="6204" y="328"/>
                  </a:cubicBezTo>
                  <a:cubicBezTo>
                    <a:pt x="5691" y="505"/>
                    <a:pt x="4030" y="1583"/>
                    <a:pt x="2581" y="2537"/>
                  </a:cubicBezTo>
                  <a:cubicBezTo>
                    <a:pt x="1591" y="3174"/>
                    <a:pt x="495" y="3898"/>
                    <a:pt x="354" y="3934"/>
                  </a:cubicBezTo>
                  <a:cubicBezTo>
                    <a:pt x="301" y="3934"/>
                    <a:pt x="230" y="3951"/>
                    <a:pt x="177" y="4075"/>
                  </a:cubicBezTo>
                  <a:cubicBezTo>
                    <a:pt x="0" y="4499"/>
                    <a:pt x="107" y="6532"/>
                    <a:pt x="548" y="6973"/>
                  </a:cubicBezTo>
                  <a:cubicBezTo>
                    <a:pt x="1096" y="7521"/>
                    <a:pt x="4436" y="11621"/>
                    <a:pt x="4719" y="12187"/>
                  </a:cubicBezTo>
                  <a:cubicBezTo>
                    <a:pt x="4737" y="12187"/>
                    <a:pt x="4861" y="12364"/>
                    <a:pt x="4878" y="12381"/>
                  </a:cubicBezTo>
                  <a:cubicBezTo>
                    <a:pt x="5010" y="12468"/>
                    <a:pt x="5259" y="12503"/>
                    <a:pt x="5566" y="12503"/>
                  </a:cubicBezTo>
                  <a:cubicBezTo>
                    <a:pt x="6579" y="12503"/>
                    <a:pt x="8231" y="12117"/>
                    <a:pt x="8448" y="11887"/>
                  </a:cubicBezTo>
                  <a:cubicBezTo>
                    <a:pt x="8554" y="11745"/>
                    <a:pt x="8643" y="11586"/>
                    <a:pt x="8696" y="11409"/>
                  </a:cubicBezTo>
                  <a:cubicBezTo>
                    <a:pt x="8819" y="11038"/>
                    <a:pt x="8908" y="10791"/>
                    <a:pt x="9137" y="10791"/>
                  </a:cubicBezTo>
                  <a:cubicBezTo>
                    <a:pt x="9367" y="10791"/>
                    <a:pt x="10693" y="11268"/>
                    <a:pt x="11877" y="11674"/>
                  </a:cubicBezTo>
                  <a:cubicBezTo>
                    <a:pt x="13732" y="12328"/>
                    <a:pt x="14970" y="12752"/>
                    <a:pt x="15305" y="12752"/>
                  </a:cubicBezTo>
                  <a:cubicBezTo>
                    <a:pt x="16030" y="12470"/>
                    <a:pt x="17320" y="12081"/>
                    <a:pt x="17479" y="12028"/>
                  </a:cubicBezTo>
                  <a:cubicBezTo>
                    <a:pt x="18221" y="11763"/>
                    <a:pt x="21615" y="8670"/>
                    <a:pt x="21950" y="8352"/>
                  </a:cubicBezTo>
                  <a:cubicBezTo>
                    <a:pt x="22092" y="7804"/>
                    <a:pt x="22127" y="7256"/>
                    <a:pt x="22074" y="6708"/>
                  </a:cubicBezTo>
                  <a:cubicBezTo>
                    <a:pt x="22039" y="6532"/>
                    <a:pt x="22021" y="6373"/>
                    <a:pt x="22021" y="6196"/>
                  </a:cubicBezTo>
                  <a:cubicBezTo>
                    <a:pt x="22021" y="5613"/>
                    <a:pt x="18045" y="4906"/>
                    <a:pt x="17196" y="4906"/>
                  </a:cubicBezTo>
                  <a:cubicBezTo>
                    <a:pt x="16489" y="4906"/>
                    <a:pt x="15482" y="4287"/>
                    <a:pt x="14280" y="3085"/>
                  </a:cubicBezTo>
                  <a:cubicBezTo>
                    <a:pt x="13697" y="2502"/>
                    <a:pt x="10021" y="346"/>
                    <a:pt x="9597" y="99"/>
                  </a:cubicBezTo>
                  <a:cubicBezTo>
                    <a:pt x="9478" y="31"/>
                    <a:pt x="9170" y="1"/>
                    <a:pt x="8779"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7" name="Google Shape;519;p24">
              <a:extLst>
                <a:ext uri="{FF2B5EF4-FFF2-40B4-BE49-F238E27FC236}">
                  <a16:creationId xmlns:a16="http://schemas.microsoft.com/office/drawing/2014/main" id="{44872009-835C-4374-B8EA-EB8DA25FF47B}"/>
                </a:ext>
              </a:extLst>
            </p:cNvPr>
            <p:cNvSpPr/>
            <p:nvPr/>
          </p:nvSpPr>
          <p:spPr>
            <a:xfrm>
              <a:off x="2152250" y="4557850"/>
              <a:ext cx="71150" cy="55800"/>
            </a:xfrm>
            <a:custGeom>
              <a:avLst/>
              <a:gdLst/>
              <a:ahLst/>
              <a:cxnLst/>
              <a:rect l="l" t="t" r="r" b="b"/>
              <a:pathLst>
                <a:path w="2846" h="2232" extrusionOk="0">
                  <a:moveTo>
                    <a:pt x="1079" y="1"/>
                  </a:moveTo>
                  <a:cubicBezTo>
                    <a:pt x="1079" y="1"/>
                    <a:pt x="213" y="160"/>
                    <a:pt x="107" y="513"/>
                  </a:cubicBezTo>
                  <a:cubicBezTo>
                    <a:pt x="1" y="885"/>
                    <a:pt x="177" y="2033"/>
                    <a:pt x="354" y="2210"/>
                  </a:cubicBezTo>
                  <a:cubicBezTo>
                    <a:pt x="369" y="2225"/>
                    <a:pt x="390" y="2232"/>
                    <a:pt x="416" y="2232"/>
                  </a:cubicBezTo>
                  <a:cubicBezTo>
                    <a:pt x="708" y="2232"/>
                    <a:pt x="1650" y="1415"/>
                    <a:pt x="1909" y="1415"/>
                  </a:cubicBezTo>
                  <a:cubicBezTo>
                    <a:pt x="2192" y="1415"/>
                    <a:pt x="2775" y="1256"/>
                    <a:pt x="2775" y="1114"/>
                  </a:cubicBezTo>
                  <a:cubicBezTo>
                    <a:pt x="2775" y="955"/>
                    <a:pt x="2846" y="1"/>
                    <a:pt x="2439"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8" name="Google Shape;520;p24">
              <a:extLst>
                <a:ext uri="{FF2B5EF4-FFF2-40B4-BE49-F238E27FC236}">
                  <a16:creationId xmlns:a16="http://schemas.microsoft.com/office/drawing/2014/main" id="{F5C42694-501B-4F49-BDD2-4CAEA854DC04}"/>
                </a:ext>
              </a:extLst>
            </p:cNvPr>
            <p:cNvSpPr/>
            <p:nvPr/>
          </p:nvSpPr>
          <p:spPr>
            <a:xfrm>
              <a:off x="2260050" y="4510150"/>
              <a:ext cx="131250" cy="110400"/>
            </a:xfrm>
            <a:custGeom>
              <a:avLst/>
              <a:gdLst/>
              <a:ahLst/>
              <a:cxnLst/>
              <a:rect l="l" t="t" r="r" b="b"/>
              <a:pathLst>
                <a:path w="5250" h="4416" extrusionOk="0">
                  <a:moveTo>
                    <a:pt x="3588" y="0"/>
                  </a:moveTo>
                  <a:cubicBezTo>
                    <a:pt x="3323" y="0"/>
                    <a:pt x="1856" y="36"/>
                    <a:pt x="1644" y="248"/>
                  </a:cubicBezTo>
                  <a:cubicBezTo>
                    <a:pt x="1432" y="442"/>
                    <a:pt x="1291" y="884"/>
                    <a:pt x="1008" y="884"/>
                  </a:cubicBezTo>
                  <a:cubicBezTo>
                    <a:pt x="743" y="884"/>
                    <a:pt x="213" y="919"/>
                    <a:pt x="178" y="1096"/>
                  </a:cubicBezTo>
                  <a:cubicBezTo>
                    <a:pt x="178" y="1096"/>
                    <a:pt x="1" y="1980"/>
                    <a:pt x="178" y="2139"/>
                  </a:cubicBezTo>
                  <a:cubicBezTo>
                    <a:pt x="337" y="2315"/>
                    <a:pt x="1326" y="2474"/>
                    <a:pt x="1326" y="2722"/>
                  </a:cubicBezTo>
                  <a:cubicBezTo>
                    <a:pt x="1326" y="2969"/>
                    <a:pt x="1556" y="4348"/>
                    <a:pt x="2033" y="4401"/>
                  </a:cubicBezTo>
                  <a:cubicBezTo>
                    <a:pt x="2103" y="4411"/>
                    <a:pt x="2179" y="4416"/>
                    <a:pt x="2260" y="4416"/>
                  </a:cubicBezTo>
                  <a:cubicBezTo>
                    <a:pt x="2729" y="4416"/>
                    <a:pt x="3324" y="4256"/>
                    <a:pt x="3429" y="4136"/>
                  </a:cubicBezTo>
                  <a:cubicBezTo>
                    <a:pt x="3571" y="3994"/>
                    <a:pt x="4419" y="2386"/>
                    <a:pt x="4737" y="2315"/>
                  </a:cubicBezTo>
                  <a:cubicBezTo>
                    <a:pt x="5144" y="2192"/>
                    <a:pt x="5250" y="1520"/>
                    <a:pt x="5091" y="1361"/>
                  </a:cubicBezTo>
                  <a:cubicBezTo>
                    <a:pt x="4932" y="1202"/>
                    <a:pt x="4384" y="1149"/>
                    <a:pt x="4384" y="1043"/>
                  </a:cubicBezTo>
                  <a:cubicBezTo>
                    <a:pt x="4384" y="919"/>
                    <a:pt x="3871" y="0"/>
                    <a:pt x="3588"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19" name="Google Shape;521;p24">
              <a:extLst>
                <a:ext uri="{FF2B5EF4-FFF2-40B4-BE49-F238E27FC236}">
                  <a16:creationId xmlns:a16="http://schemas.microsoft.com/office/drawing/2014/main" id="{B8506470-C2AE-467F-8135-788BD400C2E3}"/>
                </a:ext>
              </a:extLst>
            </p:cNvPr>
            <p:cNvSpPr/>
            <p:nvPr/>
          </p:nvSpPr>
          <p:spPr>
            <a:xfrm>
              <a:off x="2455350" y="4489375"/>
              <a:ext cx="55250" cy="60125"/>
            </a:xfrm>
            <a:custGeom>
              <a:avLst/>
              <a:gdLst/>
              <a:ahLst/>
              <a:cxnLst/>
              <a:rect l="l" t="t" r="r" b="b"/>
              <a:pathLst>
                <a:path w="2210" h="2405" extrusionOk="0">
                  <a:moveTo>
                    <a:pt x="866" y="1"/>
                  </a:moveTo>
                  <a:cubicBezTo>
                    <a:pt x="548" y="1"/>
                    <a:pt x="71" y="71"/>
                    <a:pt x="71" y="495"/>
                  </a:cubicBezTo>
                  <a:cubicBezTo>
                    <a:pt x="71" y="495"/>
                    <a:pt x="0" y="1344"/>
                    <a:pt x="230" y="1574"/>
                  </a:cubicBezTo>
                  <a:cubicBezTo>
                    <a:pt x="442" y="1803"/>
                    <a:pt x="1308" y="1750"/>
                    <a:pt x="1308" y="1962"/>
                  </a:cubicBezTo>
                  <a:cubicBezTo>
                    <a:pt x="1308" y="2192"/>
                    <a:pt x="1485" y="2369"/>
                    <a:pt x="1697" y="2404"/>
                  </a:cubicBezTo>
                  <a:cubicBezTo>
                    <a:pt x="1909" y="2404"/>
                    <a:pt x="1997" y="2316"/>
                    <a:pt x="1997" y="2051"/>
                  </a:cubicBezTo>
                  <a:cubicBezTo>
                    <a:pt x="1997" y="1768"/>
                    <a:pt x="2209" y="796"/>
                    <a:pt x="1997" y="796"/>
                  </a:cubicBezTo>
                  <a:cubicBezTo>
                    <a:pt x="1503" y="796"/>
                    <a:pt x="1184" y="1"/>
                    <a:pt x="866"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0" name="Google Shape;522;p24">
              <a:extLst>
                <a:ext uri="{FF2B5EF4-FFF2-40B4-BE49-F238E27FC236}">
                  <a16:creationId xmlns:a16="http://schemas.microsoft.com/office/drawing/2014/main" id="{F13467DE-19FD-4BD3-AA56-EC6A1985BAF2}"/>
                </a:ext>
              </a:extLst>
            </p:cNvPr>
            <p:cNvSpPr/>
            <p:nvPr/>
          </p:nvSpPr>
          <p:spPr>
            <a:xfrm>
              <a:off x="2909100" y="4439000"/>
              <a:ext cx="174100" cy="329900"/>
            </a:xfrm>
            <a:custGeom>
              <a:avLst/>
              <a:gdLst/>
              <a:ahLst/>
              <a:cxnLst/>
              <a:rect l="l" t="t" r="r" b="b"/>
              <a:pathLst>
                <a:path w="6964" h="13196" extrusionOk="0">
                  <a:moveTo>
                    <a:pt x="5055" y="1"/>
                  </a:moveTo>
                  <a:cubicBezTo>
                    <a:pt x="4755" y="1"/>
                    <a:pt x="3977" y="1468"/>
                    <a:pt x="3482" y="1468"/>
                  </a:cubicBezTo>
                  <a:cubicBezTo>
                    <a:pt x="3120" y="1468"/>
                    <a:pt x="2313" y="1610"/>
                    <a:pt x="1823" y="1610"/>
                  </a:cubicBezTo>
                  <a:cubicBezTo>
                    <a:pt x="1644" y="1610"/>
                    <a:pt x="1507" y="1591"/>
                    <a:pt x="1450" y="1538"/>
                  </a:cubicBezTo>
                  <a:cubicBezTo>
                    <a:pt x="1314" y="1390"/>
                    <a:pt x="900" y="1155"/>
                    <a:pt x="664" y="1155"/>
                  </a:cubicBezTo>
                  <a:cubicBezTo>
                    <a:pt x="564" y="1155"/>
                    <a:pt x="495" y="1198"/>
                    <a:pt x="495" y="1309"/>
                  </a:cubicBezTo>
                  <a:cubicBezTo>
                    <a:pt x="495" y="1715"/>
                    <a:pt x="213" y="2298"/>
                    <a:pt x="495" y="3235"/>
                  </a:cubicBezTo>
                  <a:cubicBezTo>
                    <a:pt x="761" y="4172"/>
                    <a:pt x="1326" y="3977"/>
                    <a:pt x="1149" y="5409"/>
                  </a:cubicBezTo>
                  <a:cubicBezTo>
                    <a:pt x="990" y="6840"/>
                    <a:pt x="1" y="9067"/>
                    <a:pt x="1" y="9915"/>
                  </a:cubicBezTo>
                  <a:cubicBezTo>
                    <a:pt x="36" y="10781"/>
                    <a:pt x="230" y="11647"/>
                    <a:pt x="584" y="12443"/>
                  </a:cubicBezTo>
                  <a:cubicBezTo>
                    <a:pt x="793" y="12935"/>
                    <a:pt x="1670" y="13196"/>
                    <a:pt x="2291" y="13196"/>
                  </a:cubicBezTo>
                  <a:cubicBezTo>
                    <a:pt x="2562" y="13196"/>
                    <a:pt x="2785" y="13146"/>
                    <a:pt x="2881" y="13044"/>
                  </a:cubicBezTo>
                  <a:cubicBezTo>
                    <a:pt x="3199" y="12726"/>
                    <a:pt x="3093" y="11312"/>
                    <a:pt x="3465" y="11312"/>
                  </a:cubicBezTo>
                  <a:cubicBezTo>
                    <a:pt x="3836" y="11312"/>
                    <a:pt x="4437" y="12125"/>
                    <a:pt x="4861" y="12125"/>
                  </a:cubicBezTo>
                  <a:cubicBezTo>
                    <a:pt x="5267" y="12125"/>
                    <a:pt x="5868" y="11594"/>
                    <a:pt x="5868" y="11047"/>
                  </a:cubicBezTo>
                  <a:cubicBezTo>
                    <a:pt x="5868" y="10499"/>
                    <a:pt x="5868" y="8095"/>
                    <a:pt x="6186" y="7441"/>
                  </a:cubicBezTo>
                  <a:cubicBezTo>
                    <a:pt x="6487" y="6787"/>
                    <a:pt x="6964" y="5091"/>
                    <a:pt x="6964" y="4437"/>
                  </a:cubicBezTo>
                  <a:cubicBezTo>
                    <a:pt x="6964" y="3783"/>
                    <a:pt x="6893" y="1786"/>
                    <a:pt x="6487" y="1026"/>
                  </a:cubicBezTo>
                  <a:cubicBezTo>
                    <a:pt x="6204" y="460"/>
                    <a:pt x="5674" y="89"/>
                    <a:pt x="505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1" name="Google Shape;523;p24">
              <a:extLst>
                <a:ext uri="{FF2B5EF4-FFF2-40B4-BE49-F238E27FC236}">
                  <a16:creationId xmlns:a16="http://schemas.microsoft.com/office/drawing/2014/main" id="{00ED4DED-CF02-4AC7-B774-11ED1960CC22}"/>
                </a:ext>
              </a:extLst>
            </p:cNvPr>
            <p:cNvSpPr/>
            <p:nvPr/>
          </p:nvSpPr>
          <p:spPr>
            <a:xfrm>
              <a:off x="2987750" y="4195625"/>
              <a:ext cx="108700" cy="225600"/>
            </a:xfrm>
            <a:custGeom>
              <a:avLst/>
              <a:gdLst/>
              <a:ahLst/>
              <a:cxnLst/>
              <a:rect l="l" t="t" r="r" b="b"/>
              <a:pathLst>
                <a:path w="4348" h="9024" extrusionOk="0">
                  <a:moveTo>
                    <a:pt x="3444" y="0"/>
                  </a:moveTo>
                  <a:cubicBezTo>
                    <a:pt x="3204" y="0"/>
                    <a:pt x="3235" y="994"/>
                    <a:pt x="3235" y="1341"/>
                  </a:cubicBezTo>
                  <a:cubicBezTo>
                    <a:pt x="3235" y="1730"/>
                    <a:pt x="884" y="1483"/>
                    <a:pt x="690" y="1889"/>
                  </a:cubicBezTo>
                  <a:cubicBezTo>
                    <a:pt x="478" y="2296"/>
                    <a:pt x="0" y="3727"/>
                    <a:pt x="336" y="4469"/>
                  </a:cubicBezTo>
                  <a:cubicBezTo>
                    <a:pt x="654" y="5229"/>
                    <a:pt x="336" y="6784"/>
                    <a:pt x="336" y="7191"/>
                  </a:cubicBezTo>
                  <a:cubicBezTo>
                    <a:pt x="336" y="7597"/>
                    <a:pt x="1803" y="8994"/>
                    <a:pt x="1803" y="8994"/>
                  </a:cubicBezTo>
                  <a:cubicBezTo>
                    <a:pt x="1825" y="9014"/>
                    <a:pt x="1854" y="9023"/>
                    <a:pt x="1888" y="9023"/>
                  </a:cubicBezTo>
                  <a:cubicBezTo>
                    <a:pt x="2173" y="9023"/>
                    <a:pt x="2819" y="8351"/>
                    <a:pt x="3040" y="8145"/>
                  </a:cubicBezTo>
                  <a:cubicBezTo>
                    <a:pt x="3270" y="7898"/>
                    <a:pt x="3058" y="6749"/>
                    <a:pt x="3058" y="6307"/>
                  </a:cubicBezTo>
                  <a:cubicBezTo>
                    <a:pt x="3058" y="5865"/>
                    <a:pt x="4348" y="5565"/>
                    <a:pt x="4348" y="5123"/>
                  </a:cubicBezTo>
                  <a:cubicBezTo>
                    <a:pt x="4348" y="4681"/>
                    <a:pt x="3977" y="1111"/>
                    <a:pt x="3977" y="811"/>
                  </a:cubicBezTo>
                  <a:cubicBezTo>
                    <a:pt x="3977" y="475"/>
                    <a:pt x="3800" y="175"/>
                    <a:pt x="3500" y="16"/>
                  </a:cubicBezTo>
                  <a:cubicBezTo>
                    <a:pt x="3480" y="5"/>
                    <a:pt x="3461" y="0"/>
                    <a:pt x="3444"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2" name="Google Shape;524;p24">
              <a:extLst>
                <a:ext uri="{FF2B5EF4-FFF2-40B4-BE49-F238E27FC236}">
                  <a16:creationId xmlns:a16="http://schemas.microsoft.com/office/drawing/2014/main" id="{7A3D95E1-EF2D-470E-8837-B49752368242}"/>
                </a:ext>
              </a:extLst>
            </p:cNvPr>
            <p:cNvSpPr/>
            <p:nvPr/>
          </p:nvSpPr>
          <p:spPr>
            <a:xfrm>
              <a:off x="3312925" y="4892775"/>
              <a:ext cx="349950" cy="227550"/>
            </a:xfrm>
            <a:custGeom>
              <a:avLst/>
              <a:gdLst/>
              <a:ahLst/>
              <a:cxnLst/>
              <a:rect l="l" t="t" r="r" b="b"/>
              <a:pathLst>
                <a:path w="13998" h="9102" extrusionOk="0">
                  <a:moveTo>
                    <a:pt x="3571" y="0"/>
                  </a:moveTo>
                  <a:cubicBezTo>
                    <a:pt x="3341" y="0"/>
                    <a:pt x="3164" y="848"/>
                    <a:pt x="2687" y="848"/>
                  </a:cubicBezTo>
                  <a:cubicBezTo>
                    <a:pt x="2228" y="848"/>
                    <a:pt x="2051" y="230"/>
                    <a:pt x="1609" y="230"/>
                  </a:cubicBezTo>
                  <a:cubicBezTo>
                    <a:pt x="1167" y="230"/>
                    <a:pt x="178" y="1449"/>
                    <a:pt x="178" y="1449"/>
                  </a:cubicBezTo>
                  <a:cubicBezTo>
                    <a:pt x="1" y="1644"/>
                    <a:pt x="478" y="3075"/>
                    <a:pt x="655" y="3252"/>
                  </a:cubicBezTo>
                  <a:cubicBezTo>
                    <a:pt x="849" y="3446"/>
                    <a:pt x="2634" y="4012"/>
                    <a:pt x="2970" y="4012"/>
                  </a:cubicBezTo>
                  <a:cubicBezTo>
                    <a:pt x="3306" y="4012"/>
                    <a:pt x="5232" y="6133"/>
                    <a:pt x="5409" y="6309"/>
                  </a:cubicBezTo>
                  <a:cubicBezTo>
                    <a:pt x="5603" y="6504"/>
                    <a:pt x="7123" y="6398"/>
                    <a:pt x="7423" y="6681"/>
                  </a:cubicBezTo>
                  <a:cubicBezTo>
                    <a:pt x="7706" y="6981"/>
                    <a:pt x="8396" y="8218"/>
                    <a:pt x="8396" y="8554"/>
                  </a:cubicBezTo>
                  <a:cubicBezTo>
                    <a:pt x="8396" y="8890"/>
                    <a:pt x="10746" y="9102"/>
                    <a:pt x="10976" y="9102"/>
                  </a:cubicBezTo>
                  <a:cubicBezTo>
                    <a:pt x="11223" y="9102"/>
                    <a:pt x="12955" y="7299"/>
                    <a:pt x="12955" y="6963"/>
                  </a:cubicBezTo>
                  <a:cubicBezTo>
                    <a:pt x="12955" y="6610"/>
                    <a:pt x="12072" y="4348"/>
                    <a:pt x="12072" y="3977"/>
                  </a:cubicBezTo>
                  <a:cubicBezTo>
                    <a:pt x="12072" y="3588"/>
                    <a:pt x="13998" y="955"/>
                    <a:pt x="13998" y="672"/>
                  </a:cubicBezTo>
                  <a:cubicBezTo>
                    <a:pt x="13998" y="551"/>
                    <a:pt x="13370" y="518"/>
                    <a:pt x="12658" y="518"/>
                  </a:cubicBezTo>
                  <a:cubicBezTo>
                    <a:pt x="11804" y="518"/>
                    <a:pt x="10830" y="566"/>
                    <a:pt x="10675" y="566"/>
                  </a:cubicBezTo>
                  <a:cubicBezTo>
                    <a:pt x="10410" y="566"/>
                    <a:pt x="10287" y="990"/>
                    <a:pt x="9827" y="1449"/>
                  </a:cubicBezTo>
                  <a:cubicBezTo>
                    <a:pt x="9674" y="1603"/>
                    <a:pt x="9254" y="1654"/>
                    <a:pt x="8748" y="1654"/>
                  </a:cubicBezTo>
                  <a:cubicBezTo>
                    <a:pt x="7736" y="1654"/>
                    <a:pt x="6381" y="1449"/>
                    <a:pt x="6133" y="1449"/>
                  </a:cubicBezTo>
                  <a:cubicBezTo>
                    <a:pt x="5745" y="1449"/>
                    <a:pt x="5479" y="636"/>
                    <a:pt x="5214" y="371"/>
                  </a:cubicBezTo>
                  <a:cubicBezTo>
                    <a:pt x="4932" y="89"/>
                    <a:pt x="3818" y="0"/>
                    <a:pt x="3571"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3" name="Google Shape;525;p24">
              <a:extLst>
                <a:ext uri="{FF2B5EF4-FFF2-40B4-BE49-F238E27FC236}">
                  <a16:creationId xmlns:a16="http://schemas.microsoft.com/office/drawing/2014/main" id="{9873D597-A336-4188-9844-AEAC89CCB8B9}"/>
                </a:ext>
              </a:extLst>
            </p:cNvPr>
            <p:cNvSpPr/>
            <p:nvPr/>
          </p:nvSpPr>
          <p:spPr>
            <a:xfrm>
              <a:off x="5505275" y="5125700"/>
              <a:ext cx="251425" cy="182850"/>
            </a:xfrm>
            <a:custGeom>
              <a:avLst/>
              <a:gdLst/>
              <a:ahLst/>
              <a:cxnLst/>
              <a:rect l="l" t="t" r="r" b="b"/>
              <a:pathLst>
                <a:path w="10057" h="7314" extrusionOk="0">
                  <a:moveTo>
                    <a:pt x="9799" y="0"/>
                  </a:moveTo>
                  <a:cubicBezTo>
                    <a:pt x="9384" y="0"/>
                    <a:pt x="7003" y="2043"/>
                    <a:pt x="6716" y="2330"/>
                  </a:cubicBezTo>
                  <a:cubicBezTo>
                    <a:pt x="6540" y="2506"/>
                    <a:pt x="5544" y="2542"/>
                    <a:pt x="4700" y="2542"/>
                  </a:cubicBezTo>
                  <a:cubicBezTo>
                    <a:pt x="4105" y="2542"/>
                    <a:pt x="3585" y="2524"/>
                    <a:pt x="3482" y="2524"/>
                  </a:cubicBezTo>
                  <a:cubicBezTo>
                    <a:pt x="3252" y="2524"/>
                    <a:pt x="3146" y="3514"/>
                    <a:pt x="3146" y="3726"/>
                  </a:cubicBezTo>
                  <a:cubicBezTo>
                    <a:pt x="3146" y="3920"/>
                    <a:pt x="266" y="5210"/>
                    <a:pt x="266" y="5210"/>
                  </a:cubicBezTo>
                  <a:cubicBezTo>
                    <a:pt x="1" y="5493"/>
                    <a:pt x="1662" y="7314"/>
                    <a:pt x="1927" y="7314"/>
                  </a:cubicBezTo>
                  <a:cubicBezTo>
                    <a:pt x="2192" y="7314"/>
                    <a:pt x="2705" y="6942"/>
                    <a:pt x="2952" y="6713"/>
                  </a:cubicBezTo>
                  <a:cubicBezTo>
                    <a:pt x="3131" y="6520"/>
                    <a:pt x="3684" y="6499"/>
                    <a:pt x="4195" y="6499"/>
                  </a:cubicBezTo>
                  <a:cubicBezTo>
                    <a:pt x="4341" y="6499"/>
                    <a:pt x="4484" y="6501"/>
                    <a:pt x="4613" y="6501"/>
                  </a:cubicBezTo>
                  <a:cubicBezTo>
                    <a:pt x="5197" y="6501"/>
                    <a:pt x="6928" y="4698"/>
                    <a:pt x="7123" y="4504"/>
                  </a:cubicBezTo>
                  <a:cubicBezTo>
                    <a:pt x="7335" y="4291"/>
                    <a:pt x="8448" y="4468"/>
                    <a:pt x="8448" y="4256"/>
                  </a:cubicBezTo>
                  <a:cubicBezTo>
                    <a:pt x="8360" y="3814"/>
                    <a:pt x="8148" y="3390"/>
                    <a:pt x="7865" y="3037"/>
                  </a:cubicBezTo>
                  <a:cubicBezTo>
                    <a:pt x="7635" y="2807"/>
                    <a:pt x="10057" y="244"/>
                    <a:pt x="9845" y="15"/>
                  </a:cubicBezTo>
                  <a:cubicBezTo>
                    <a:pt x="9834" y="5"/>
                    <a:pt x="9819" y="0"/>
                    <a:pt x="9799"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4" name="Google Shape;526;p24">
              <a:extLst>
                <a:ext uri="{FF2B5EF4-FFF2-40B4-BE49-F238E27FC236}">
                  <a16:creationId xmlns:a16="http://schemas.microsoft.com/office/drawing/2014/main" id="{3243AD68-B2A6-46F5-892F-C5FDDA8D2781}"/>
                </a:ext>
              </a:extLst>
            </p:cNvPr>
            <p:cNvSpPr/>
            <p:nvPr/>
          </p:nvSpPr>
          <p:spPr>
            <a:xfrm>
              <a:off x="4524050" y="5209450"/>
              <a:ext cx="321175" cy="94250"/>
            </a:xfrm>
            <a:custGeom>
              <a:avLst/>
              <a:gdLst/>
              <a:ahLst/>
              <a:cxnLst/>
              <a:rect l="l" t="t" r="r" b="b"/>
              <a:pathLst>
                <a:path w="12847" h="3770" extrusionOk="0">
                  <a:moveTo>
                    <a:pt x="335" y="1"/>
                  </a:moveTo>
                  <a:cubicBezTo>
                    <a:pt x="132" y="1"/>
                    <a:pt x="1" y="70"/>
                    <a:pt x="33" y="270"/>
                  </a:cubicBezTo>
                  <a:cubicBezTo>
                    <a:pt x="33" y="270"/>
                    <a:pt x="334" y="2302"/>
                    <a:pt x="616" y="2302"/>
                  </a:cubicBezTo>
                  <a:cubicBezTo>
                    <a:pt x="881" y="2302"/>
                    <a:pt x="4858" y="2497"/>
                    <a:pt x="5035" y="2673"/>
                  </a:cubicBezTo>
                  <a:cubicBezTo>
                    <a:pt x="5194" y="2850"/>
                    <a:pt x="5141" y="3769"/>
                    <a:pt x="5441" y="3769"/>
                  </a:cubicBezTo>
                  <a:cubicBezTo>
                    <a:pt x="5741" y="3769"/>
                    <a:pt x="9046" y="3486"/>
                    <a:pt x="9559" y="3345"/>
                  </a:cubicBezTo>
                  <a:cubicBezTo>
                    <a:pt x="10075" y="3190"/>
                    <a:pt x="10390" y="2584"/>
                    <a:pt x="10667" y="2584"/>
                  </a:cubicBezTo>
                  <a:cubicBezTo>
                    <a:pt x="10675" y="2584"/>
                    <a:pt x="10682" y="2584"/>
                    <a:pt x="10690" y="2585"/>
                  </a:cubicBezTo>
                  <a:cubicBezTo>
                    <a:pt x="10699" y="2586"/>
                    <a:pt x="10710" y="2587"/>
                    <a:pt x="10723" y="2587"/>
                  </a:cubicBezTo>
                  <a:cubicBezTo>
                    <a:pt x="11068" y="2587"/>
                    <a:pt x="12568" y="2139"/>
                    <a:pt x="12705" y="2020"/>
                  </a:cubicBezTo>
                  <a:cubicBezTo>
                    <a:pt x="12846" y="1878"/>
                    <a:pt x="12811" y="606"/>
                    <a:pt x="12475" y="606"/>
                  </a:cubicBezTo>
                  <a:cubicBezTo>
                    <a:pt x="12139" y="606"/>
                    <a:pt x="12227" y="1313"/>
                    <a:pt x="11892" y="1313"/>
                  </a:cubicBezTo>
                  <a:cubicBezTo>
                    <a:pt x="11556" y="1313"/>
                    <a:pt x="10531" y="1595"/>
                    <a:pt x="10230" y="1595"/>
                  </a:cubicBezTo>
                  <a:cubicBezTo>
                    <a:pt x="9930" y="1595"/>
                    <a:pt x="9612" y="906"/>
                    <a:pt x="9170" y="906"/>
                  </a:cubicBezTo>
                  <a:cubicBezTo>
                    <a:pt x="8817" y="906"/>
                    <a:pt x="6371" y="567"/>
                    <a:pt x="5271" y="567"/>
                  </a:cubicBezTo>
                  <a:cubicBezTo>
                    <a:pt x="4996" y="567"/>
                    <a:pt x="4805" y="588"/>
                    <a:pt x="4752" y="641"/>
                  </a:cubicBezTo>
                  <a:cubicBezTo>
                    <a:pt x="4504" y="888"/>
                    <a:pt x="4222" y="1189"/>
                    <a:pt x="4010" y="1189"/>
                  </a:cubicBezTo>
                  <a:cubicBezTo>
                    <a:pt x="3815" y="1189"/>
                    <a:pt x="3532" y="22"/>
                    <a:pt x="3197" y="22"/>
                  </a:cubicBezTo>
                  <a:cubicBezTo>
                    <a:pt x="2861" y="22"/>
                    <a:pt x="1977" y="358"/>
                    <a:pt x="1765" y="358"/>
                  </a:cubicBezTo>
                  <a:cubicBezTo>
                    <a:pt x="1630" y="358"/>
                    <a:pt x="797" y="1"/>
                    <a:pt x="33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5" name="Google Shape;527;p24">
              <a:extLst>
                <a:ext uri="{FF2B5EF4-FFF2-40B4-BE49-F238E27FC236}">
                  <a16:creationId xmlns:a16="http://schemas.microsoft.com/office/drawing/2014/main" id="{5893EED2-55D1-4645-97B4-E1428E93AF82}"/>
                </a:ext>
              </a:extLst>
            </p:cNvPr>
            <p:cNvSpPr/>
            <p:nvPr/>
          </p:nvSpPr>
          <p:spPr>
            <a:xfrm>
              <a:off x="4991000" y="5116875"/>
              <a:ext cx="66725" cy="88725"/>
            </a:xfrm>
            <a:custGeom>
              <a:avLst/>
              <a:gdLst/>
              <a:ahLst/>
              <a:cxnLst/>
              <a:rect l="l" t="t" r="r" b="b"/>
              <a:pathLst>
                <a:path w="2669" h="3549" extrusionOk="0">
                  <a:moveTo>
                    <a:pt x="2463" y="0"/>
                  </a:moveTo>
                  <a:cubicBezTo>
                    <a:pt x="2117" y="0"/>
                    <a:pt x="290" y="1138"/>
                    <a:pt x="124" y="1304"/>
                  </a:cubicBezTo>
                  <a:cubicBezTo>
                    <a:pt x="0" y="1428"/>
                    <a:pt x="53" y="2435"/>
                    <a:pt x="106" y="2948"/>
                  </a:cubicBezTo>
                  <a:cubicBezTo>
                    <a:pt x="106" y="3125"/>
                    <a:pt x="548" y="3549"/>
                    <a:pt x="760" y="3549"/>
                  </a:cubicBezTo>
                  <a:cubicBezTo>
                    <a:pt x="972" y="3549"/>
                    <a:pt x="2510" y="1870"/>
                    <a:pt x="2510" y="1622"/>
                  </a:cubicBezTo>
                  <a:cubicBezTo>
                    <a:pt x="2510" y="1375"/>
                    <a:pt x="2669" y="155"/>
                    <a:pt x="2510" y="14"/>
                  </a:cubicBezTo>
                  <a:cubicBezTo>
                    <a:pt x="2500" y="5"/>
                    <a:pt x="2485" y="0"/>
                    <a:pt x="2463"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6" name="Google Shape;528;p24">
              <a:extLst>
                <a:ext uri="{FF2B5EF4-FFF2-40B4-BE49-F238E27FC236}">
                  <a16:creationId xmlns:a16="http://schemas.microsoft.com/office/drawing/2014/main" id="{41FD7B4C-3095-4204-B804-5BAB81B9E430}"/>
                </a:ext>
              </a:extLst>
            </p:cNvPr>
            <p:cNvSpPr/>
            <p:nvPr/>
          </p:nvSpPr>
          <p:spPr>
            <a:xfrm>
              <a:off x="4929575" y="5204250"/>
              <a:ext cx="23875" cy="73375"/>
            </a:xfrm>
            <a:custGeom>
              <a:avLst/>
              <a:gdLst/>
              <a:ahLst/>
              <a:cxnLst/>
              <a:rect l="l" t="t" r="r" b="b"/>
              <a:pathLst>
                <a:path w="955" h="2935" extrusionOk="0">
                  <a:moveTo>
                    <a:pt x="555" y="1"/>
                  </a:moveTo>
                  <a:cubicBezTo>
                    <a:pt x="458" y="1"/>
                    <a:pt x="301" y="142"/>
                    <a:pt x="230" y="142"/>
                  </a:cubicBezTo>
                  <a:cubicBezTo>
                    <a:pt x="107" y="142"/>
                    <a:pt x="1" y="1379"/>
                    <a:pt x="1" y="1715"/>
                  </a:cubicBezTo>
                  <a:cubicBezTo>
                    <a:pt x="1" y="2051"/>
                    <a:pt x="89" y="2934"/>
                    <a:pt x="248" y="2934"/>
                  </a:cubicBezTo>
                  <a:cubicBezTo>
                    <a:pt x="407" y="2934"/>
                    <a:pt x="796" y="2599"/>
                    <a:pt x="796" y="2369"/>
                  </a:cubicBezTo>
                  <a:cubicBezTo>
                    <a:pt x="796" y="2157"/>
                    <a:pt x="955" y="1627"/>
                    <a:pt x="796" y="1468"/>
                  </a:cubicBezTo>
                  <a:cubicBezTo>
                    <a:pt x="637" y="1309"/>
                    <a:pt x="637" y="142"/>
                    <a:pt x="637" y="142"/>
                  </a:cubicBezTo>
                  <a:cubicBezTo>
                    <a:pt x="637" y="36"/>
                    <a:pt x="603" y="1"/>
                    <a:pt x="55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7" name="Google Shape;529;p24">
              <a:extLst>
                <a:ext uri="{FF2B5EF4-FFF2-40B4-BE49-F238E27FC236}">
                  <a16:creationId xmlns:a16="http://schemas.microsoft.com/office/drawing/2014/main" id="{665B18A4-6AEB-4C2D-9FE5-04BC59338519}"/>
                </a:ext>
              </a:extLst>
            </p:cNvPr>
            <p:cNvSpPr/>
            <p:nvPr/>
          </p:nvSpPr>
          <p:spPr>
            <a:xfrm>
              <a:off x="4610125" y="5099875"/>
              <a:ext cx="30075" cy="32375"/>
            </a:xfrm>
            <a:custGeom>
              <a:avLst/>
              <a:gdLst/>
              <a:ahLst/>
              <a:cxnLst/>
              <a:rect l="l" t="t" r="r" b="b"/>
              <a:pathLst>
                <a:path w="1203" h="1295" extrusionOk="0">
                  <a:moveTo>
                    <a:pt x="947" y="0"/>
                  </a:moveTo>
                  <a:cubicBezTo>
                    <a:pt x="736" y="0"/>
                    <a:pt x="230" y="235"/>
                    <a:pt x="125" y="341"/>
                  </a:cubicBezTo>
                  <a:cubicBezTo>
                    <a:pt x="1" y="464"/>
                    <a:pt x="213" y="1118"/>
                    <a:pt x="390" y="1295"/>
                  </a:cubicBezTo>
                  <a:cubicBezTo>
                    <a:pt x="390" y="1295"/>
                    <a:pt x="1203" y="1224"/>
                    <a:pt x="1203" y="959"/>
                  </a:cubicBezTo>
                  <a:cubicBezTo>
                    <a:pt x="1203" y="694"/>
                    <a:pt x="1132" y="129"/>
                    <a:pt x="1026" y="23"/>
                  </a:cubicBezTo>
                  <a:cubicBezTo>
                    <a:pt x="1011" y="7"/>
                    <a:pt x="983" y="0"/>
                    <a:pt x="94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8" name="Google Shape;530;p24">
              <a:extLst>
                <a:ext uri="{FF2B5EF4-FFF2-40B4-BE49-F238E27FC236}">
                  <a16:creationId xmlns:a16="http://schemas.microsoft.com/office/drawing/2014/main" id="{13ED4F86-ABDA-4CFC-85B6-B85D7040AB4D}"/>
                </a:ext>
              </a:extLst>
            </p:cNvPr>
            <p:cNvSpPr/>
            <p:nvPr/>
          </p:nvSpPr>
          <p:spPr>
            <a:xfrm>
              <a:off x="4699375" y="4781425"/>
              <a:ext cx="84425" cy="55700"/>
            </a:xfrm>
            <a:custGeom>
              <a:avLst/>
              <a:gdLst/>
              <a:ahLst/>
              <a:cxnLst/>
              <a:rect l="l" t="t" r="r" b="b"/>
              <a:pathLst>
                <a:path w="3377" h="2228" extrusionOk="0">
                  <a:moveTo>
                    <a:pt x="1945" y="1"/>
                  </a:moveTo>
                  <a:cubicBezTo>
                    <a:pt x="1733" y="1"/>
                    <a:pt x="231" y="814"/>
                    <a:pt x="231" y="814"/>
                  </a:cubicBezTo>
                  <a:cubicBezTo>
                    <a:pt x="1" y="955"/>
                    <a:pt x="708" y="1821"/>
                    <a:pt x="849" y="1821"/>
                  </a:cubicBezTo>
                  <a:cubicBezTo>
                    <a:pt x="991" y="1821"/>
                    <a:pt x="1397" y="1503"/>
                    <a:pt x="1680" y="1503"/>
                  </a:cubicBezTo>
                  <a:cubicBezTo>
                    <a:pt x="1980" y="1503"/>
                    <a:pt x="2634" y="2227"/>
                    <a:pt x="2793" y="2227"/>
                  </a:cubicBezTo>
                  <a:cubicBezTo>
                    <a:pt x="2952" y="2227"/>
                    <a:pt x="3376" y="1786"/>
                    <a:pt x="3376" y="1573"/>
                  </a:cubicBezTo>
                  <a:cubicBezTo>
                    <a:pt x="3376" y="1344"/>
                    <a:pt x="3023" y="725"/>
                    <a:pt x="2776" y="725"/>
                  </a:cubicBezTo>
                  <a:cubicBezTo>
                    <a:pt x="2511" y="725"/>
                    <a:pt x="2175" y="1"/>
                    <a:pt x="194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29" name="Google Shape;531;p24">
              <a:extLst>
                <a:ext uri="{FF2B5EF4-FFF2-40B4-BE49-F238E27FC236}">
                  <a16:creationId xmlns:a16="http://schemas.microsoft.com/office/drawing/2014/main" id="{257A464D-F74E-49B0-B32F-610487329C92}"/>
                </a:ext>
              </a:extLst>
            </p:cNvPr>
            <p:cNvSpPr/>
            <p:nvPr/>
          </p:nvSpPr>
          <p:spPr>
            <a:xfrm>
              <a:off x="4654750" y="4680800"/>
              <a:ext cx="56150" cy="45425"/>
            </a:xfrm>
            <a:custGeom>
              <a:avLst/>
              <a:gdLst/>
              <a:ahLst/>
              <a:cxnLst/>
              <a:rect l="l" t="t" r="r" b="b"/>
              <a:pathLst>
                <a:path w="2246" h="1817" extrusionOk="0">
                  <a:moveTo>
                    <a:pt x="712" y="0"/>
                  </a:moveTo>
                  <a:cubicBezTo>
                    <a:pt x="549" y="0"/>
                    <a:pt x="413" y="26"/>
                    <a:pt x="337" y="102"/>
                  </a:cubicBezTo>
                  <a:cubicBezTo>
                    <a:pt x="178" y="279"/>
                    <a:pt x="125" y="526"/>
                    <a:pt x="195" y="756"/>
                  </a:cubicBezTo>
                  <a:cubicBezTo>
                    <a:pt x="213" y="915"/>
                    <a:pt x="1" y="1816"/>
                    <a:pt x="178" y="1816"/>
                  </a:cubicBezTo>
                  <a:cubicBezTo>
                    <a:pt x="372" y="1816"/>
                    <a:pt x="2051" y="1640"/>
                    <a:pt x="2051" y="1322"/>
                  </a:cubicBezTo>
                  <a:cubicBezTo>
                    <a:pt x="2051" y="1003"/>
                    <a:pt x="2245" y="102"/>
                    <a:pt x="1786" y="102"/>
                  </a:cubicBezTo>
                  <a:cubicBezTo>
                    <a:pt x="1480" y="102"/>
                    <a:pt x="1040" y="0"/>
                    <a:pt x="712"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0" name="Google Shape;532;p24">
              <a:extLst>
                <a:ext uri="{FF2B5EF4-FFF2-40B4-BE49-F238E27FC236}">
                  <a16:creationId xmlns:a16="http://schemas.microsoft.com/office/drawing/2014/main" id="{3D6F1BEC-48CA-4A04-AA66-955AF1F6999C}"/>
                </a:ext>
              </a:extLst>
            </p:cNvPr>
            <p:cNvSpPr/>
            <p:nvPr/>
          </p:nvSpPr>
          <p:spPr>
            <a:xfrm>
              <a:off x="4601750" y="4560500"/>
              <a:ext cx="42000" cy="40950"/>
            </a:xfrm>
            <a:custGeom>
              <a:avLst/>
              <a:gdLst/>
              <a:ahLst/>
              <a:cxnLst/>
              <a:rect l="l" t="t" r="r" b="b"/>
              <a:pathLst>
                <a:path w="1680" h="1638" extrusionOk="0">
                  <a:moveTo>
                    <a:pt x="1061" y="1"/>
                  </a:moveTo>
                  <a:cubicBezTo>
                    <a:pt x="742" y="1"/>
                    <a:pt x="177" y="107"/>
                    <a:pt x="177" y="319"/>
                  </a:cubicBezTo>
                  <a:cubicBezTo>
                    <a:pt x="177" y="514"/>
                    <a:pt x="0" y="1379"/>
                    <a:pt x="177" y="1556"/>
                  </a:cubicBezTo>
                  <a:cubicBezTo>
                    <a:pt x="235" y="1614"/>
                    <a:pt x="323" y="1638"/>
                    <a:pt x="422" y="1638"/>
                  </a:cubicBezTo>
                  <a:cubicBezTo>
                    <a:pt x="655" y="1638"/>
                    <a:pt x="949" y="1509"/>
                    <a:pt x="1061" y="1397"/>
                  </a:cubicBezTo>
                  <a:cubicBezTo>
                    <a:pt x="1061" y="1397"/>
                    <a:pt x="1679" y="991"/>
                    <a:pt x="1679" y="867"/>
                  </a:cubicBezTo>
                  <a:cubicBezTo>
                    <a:pt x="1679" y="726"/>
                    <a:pt x="1379" y="1"/>
                    <a:pt x="1061"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1" name="Google Shape;533;p24">
              <a:extLst>
                <a:ext uri="{FF2B5EF4-FFF2-40B4-BE49-F238E27FC236}">
                  <a16:creationId xmlns:a16="http://schemas.microsoft.com/office/drawing/2014/main" id="{915EDE45-9A6C-48E6-B1CD-9F176F64742F}"/>
                </a:ext>
              </a:extLst>
            </p:cNvPr>
            <p:cNvSpPr/>
            <p:nvPr/>
          </p:nvSpPr>
          <p:spPr>
            <a:xfrm>
              <a:off x="4652100" y="4582100"/>
              <a:ext cx="38925" cy="29850"/>
            </a:xfrm>
            <a:custGeom>
              <a:avLst/>
              <a:gdLst/>
              <a:ahLst/>
              <a:cxnLst/>
              <a:rect l="l" t="t" r="r" b="b"/>
              <a:pathLst>
                <a:path w="1557" h="1194" extrusionOk="0">
                  <a:moveTo>
                    <a:pt x="725" y="1"/>
                  </a:moveTo>
                  <a:cubicBezTo>
                    <a:pt x="660" y="1"/>
                    <a:pt x="608" y="17"/>
                    <a:pt x="584" y="56"/>
                  </a:cubicBezTo>
                  <a:cubicBezTo>
                    <a:pt x="496" y="197"/>
                    <a:pt x="1" y="710"/>
                    <a:pt x="36" y="922"/>
                  </a:cubicBezTo>
                  <a:cubicBezTo>
                    <a:pt x="82" y="1091"/>
                    <a:pt x="424" y="1194"/>
                    <a:pt x="640" y="1194"/>
                  </a:cubicBezTo>
                  <a:cubicBezTo>
                    <a:pt x="672" y="1194"/>
                    <a:pt x="701" y="1192"/>
                    <a:pt x="726" y="1187"/>
                  </a:cubicBezTo>
                  <a:cubicBezTo>
                    <a:pt x="726" y="1187"/>
                    <a:pt x="1326" y="1169"/>
                    <a:pt x="1379" y="1063"/>
                  </a:cubicBezTo>
                  <a:cubicBezTo>
                    <a:pt x="1450" y="975"/>
                    <a:pt x="1556" y="339"/>
                    <a:pt x="1326" y="215"/>
                  </a:cubicBezTo>
                  <a:cubicBezTo>
                    <a:pt x="1173" y="113"/>
                    <a:pt x="898" y="1"/>
                    <a:pt x="72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2" name="Google Shape;534;p24">
              <a:extLst>
                <a:ext uri="{FF2B5EF4-FFF2-40B4-BE49-F238E27FC236}">
                  <a16:creationId xmlns:a16="http://schemas.microsoft.com/office/drawing/2014/main" id="{363431DD-58CE-4168-BD38-C35E8320959B}"/>
                </a:ext>
              </a:extLst>
            </p:cNvPr>
            <p:cNvSpPr/>
            <p:nvPr/>
          </p:nvSpPr>
          <p:spPr>
            <a:xfrm>
              <a:off x="4678175" y="4635575"/>
              <a:ext cx="33600" cy="36625"/>
            </a:xfrm>
            <a:custGeom>
              <a:avLst/>
              <a:gdLst/>
              <a:ahLst/>
              <a:cxnLst/>
              <a:rect l="l" t="t" r="r" b="b"/>
              <a:pathLst>
                <a:path w="1344" h="1465" extrusionOk="0">
                  <a:moveTo>
                    <a:pt x="427" y="1"/>
                  </a:moveTo>
                  <a:cubicBezTo>
                    <a:pt x="420" y="1"/>
                    <a:pt x="414" y="1"/>
                    <a:pt x="407" y="2"/>
                  </a:cubicBezTo>
                  <a:cubicBezTo>
                    <a:pt x="195" y="38"/>
                    <a:pt x="36" y="444"/>
                    <a:pt x="71" y="656"/>
                  </a:cubicBezTo>
                  <a:cubicBezTo>
                    <a:pt x="54" y="656"/>
                    <a:pt x="1" y="1257"/>
                    <a:pt x="107" y="1328"/>
                  </a:cubicBezTo>
                  <a:cubicBezTo>
                    <a:pt x="164" y="1374"/>
                    <a:pt x="437" y="1464"/>
                    <a:pt x="670" y="1464"/>
                  </a:cubicBezTo>
                  <a:cubicBezTo>
                    <a:pt x="796" y="1464"/>
                    <a:pt x="911" y="1438"/>
                    <a:pt x="973" y="1363"/>
                  </a:cubicBezTo>
                  <a:cubicBezTo>
                    <a:pt x="1132" y="1169"/>
                    <a:pt x="1344" y="745"/>
                    <a:pt x="1202" y="639"/>
                  </a:cubicBezTo>
                  <a:cubicBezTo>
                    <a:pt x="1082" y="536"/>
                    <a:pt x="647" y="1"/>
                    <a:pt x="427"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3" name="Google Shape;535;p24">
              <a:extLst>
                <a:ext uri="{FF2B5EF4-FFF2-40B4-BE49-F238E27FC236}">
                  <a16:creationId xmlns:a16="http://schemas.microsoft.com/office/drawing/2014/main" id="{A5F888A0-4B54-4267-9171-0D2DFFBCA5D3}"/>
                </a:ext>
              </a:extLst>
            </p:cNvPr>
            <p:cNvSpPr/>
            <p:nvPr/>
          </p:nvSpPr>
          <p:spPr>
            <a:xfrm>
              <a:off x="4525300" y="4758450"/>
              <a:ext cx="49075" cy="42800"/>
            </a:xfrm>
            <a:custGeom>
              <a:avLst/>
              <a:gdLst/>
              <a:ahLst/>
              <a:cxnLst/>
              <a:rect l="l" t="t" r="r" b="b"/>
              <a:pathLst>
                <a:path w="1963" h="1712" extrusionOk="0">
                  <a:moveTo>
                    <a:pt x="1036" y="0"/>
                  </a:moveTo>
                  <a:cubicBezTo>
                    <a:pt x="1033" y="0"/>
                    <a:pt x="1029" y="0"/>
                    <a:pt x="1026" y="1"/>
                  </a:cubicBezTo>
                  <a:cubicBezTo>
                    <a:pt x="814" y="36"/>
                    <a:pt x="1" y="760"/>
                    <a:pt x="18" y="955"/>
                  </a:cubicBezTo>
                  <a:cubicBezTo>
                    <a:pt x="107" y="1220"/>
                    <a:pt x="213" y="1467"/>
                    <a:pt x="354" y="1697"/>
                  </a:cubicBezTo>
                  <a:cubicBezTo>
                    <a:pt x="367" y="1707"/>
                    <a:pt x="397" y="1712"/>
                    <a:pt x="441" y="1712"/>
                  </a:cubicBezTo>
                  <a:cubicBezTo>
                    <a:pt x="704" y="1712"/>
                    <a:pt x="1437" y="1543"/>
                    <a:pt x="1574" y="1361"/>
                  </a:cubicBezTo>
                  <a:cubicBezTo>
                    <a:pt x="1750" y="1167"/>
                    <a:pt x="1962" y="743"/>
                    <a:pt x="1821" y="637"/>
                  </a:cubicBezTo>
                  <a:cubicBezTo>
                    <a:pt x="1699" y="532"/>
                    <a:pt x="1252" y="0"/>
                    <a:pt x="1036"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4" name="Google Shape;536;p24">
              <a:extLst>
                <a:ext uri="{FF2B5EF4-FFF2-40B4-BE49-F238E27FC236}">
                  <a16:creationId xmlns:a16="http://schemas.microsoft.com/office/drawing/2014/main" id="{3A0C75FE-46F8-4779-847D-B243EE63DEDB}"/>
                </a:ext>
              </a:extLst>
            </p:cNvPr>
            <p:cNvSpPr/>
            <p:nvPr/>
          </p:nvSpPr>
          <p:spPr>
            <a:xfrm>
              <a:off x="4611250" y="4794925"/>
              <a:ext cx="47075" cy="45875"/>
            </a:xfrm>
            <a:custGeom>
              <a:avLst/>
              <a:gdLst/>
              <a:ahLst/>
              <a:cxnLst/>
              <a:rect l="l" t="t" r="r" b="b"/>
              <a:pathLst>
                <a:path w="1883" h="1835" extrusionOk="0">
                  <a:moveTo>
                    <a:pt x="645" y="1"/>
                  </a:moveTo>
                  <a:cubicBezTo>
                    <a:pt x="538" y="1"/>
                    <a:pt x="0" y="664"/>
                    <a:pt x="80" y="839"/>
                  </a:cubicBezTo>
                  <a:cubicBezTo>
                    <a:pt x="80" y="839"/>
                    <a:pt x="309" y="1546"/>
                    <a:pt x="522" y="1740"/>
                  </a:cubicBezTo>
                  <a:cubicBezTo>
                    <a:pt x="586" y="1811"/>
                    <a:pt x="679" y="1835"/>
                    <a:pt x="787" y="1835"/>
                  </a:cubicBezTo>
                  <a:cubicBezTo>
                    <a:pt x="1003" y="1835"/>
                    <a:pt x="1281" y="1740"/>
                    <a:pt x="1529" y="1740"/>
                  </a:cubicBezTo>
                  <a:cubicBezTo>
                    <a:pt x="1882" y="1740"/>
                    <a:pt x="1582" y="1175"/>
                    <a:pt x="1529" y="1104"/>
                  </a:cubicBezTo>
                  <a:cubicBezTo>
                    <a:pt x="1458" y="1033"/>
                    <a:pt x="663" y="203"/>
                    <a:pt x="663" y="26"/>
                  </a:cubicBezTo>
                  <a:cubicBezTo>
                    <a:pt x="663" y="9"/>
                    <a:pt x="656" y="1"/>
                    <a:pt x="64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5" name="Google Shape;537;p24">
              <a:extLst>
                <a:ext uri="{FF2B5EF4-FFF2-40B4-BE49-F238E27FC236}">
                  <a16:creationId xmlns:a16="http://schemas.microsoft.com/office/drawing/2014/main" id="{23376F7F-AB2B-4BD2-BC48-8FBC2C8EC69E}"/>
                </a:ext>
              </a:extLst>
            </p:cNvPr>
            <p:cNvSpPr/>
            <p:nvPr/>
          </p:nvSpPr>
          <p:spPr>
            <a:xfrm>
              <a:off x="3361975" y="2498050"/>
              <a:ext cx="57450" cy="85400"/>
            </a:xfrm>
            <a:custGeom>
              <a:avLst/>
              <a:gdLst/>
              <a:ahLst/>
              <a:cxnLst/>
              <a:rect l="l" t="t" r="r" b="b"/>
              <a:pathLst>
                <a:path w="2298" h="3416" extrusionOk="0">
                  <a:moveTo>
                    <a:pt x="1351" y="0"/>
                  </a:moveTo>
                  <a:cubicBezTo>
                    <a:pt x="953" y="0"/>
                    <a:pt x="240" y="450"/>
                    <a:pt x="124" y="566"/>
                  </a:cubicBezTo>
                  <a:cubicBezTo>
                    <a:pt x="0" y="708"/>
                    <a:pt x="36" y="2581"/>
                    <a:pt x="36" y="2581"/>
                  </a:cubicBezTo>
                  <a:cubicBezTo>
                    <a:pt x="160" y="2917"/>
                    <a:pt x="672" y="3129"/>
                    <a:pt x="831" y="3288"/>
                  </a:cubicBezTo>
                  <a:cubicBezTo>
                    <a:pt x="941" y="3398"/>
                    <a:pt x="1305" y="3415"/>
                    <a:pt x="1578" y="3415"/>
                  </a:cubicBezTo>
                  <a:cubicBezTo>
                    <a:pt x="1699" y="3415"/>
                    <a:pt x="1802" y="3412"/>
                    <a:pt x="1856" y="3412"/>
                  </a:cubicBezTo>
                  <a:cubicBezTo>
                    <a:pt x="2033" y="3412"/>
                    <a:pt x="2298" y="2440"/>
                    <a:pt x="2298" y="2069"/>
                  </a:cubicBezTo>
                  <a:cubicBezTo>
                    <a:pt x="2298" y="1680"/>
                    <a:pt x="2227" y="726"/>
                    <a:pt x="1927" y="726"/>
                  </a:cubicBezTo>
                  <a:cubicBezTo>
                    <a:pt x="1644" y="726"/>
                    <a:pt x="1821" y="354"/>
                    <a:pt x="1556" y="72"/>
                  </a:cubicBezTo>
                  <a:cubicBezTo>
                    <a:pt x="1508" y="21"/>
                    <a:pt x="1437" y="0"/>
                    <a:pt x="1351"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6" name="Google Shape;538;p24">
              <a:extLst>
                <a:ext uri="{FF2B5EF4-FFF2-40B4-BE49-F238E27FC236}">
                  <a16:creationId xmlns:a16="http://schemas.microsoft.com/office/drawing/2014/main" id="{2F09DB93-A312-4BFB-9F76-825644CF55B3}"/>
                </a:ext>
              </a:extLst>
            </p:cNvPr>
            <p:cNvSpPr/>
            <p:nvPr/>
          </p:nvSpPr>
          <p:spPr>
            <a:xfrm>
              <a:off x="3458300" y="2463075"/>
              <a:ext cx="94575" cy="176400"/>
            </a:xfrm>
            <a:custGeom>
              <a:avLst/>
              <a:gdLst/>
              <a:ahLst/>
              <a:cxnLst/>
              <a:rect l="l" t="t" r="r" b="b"/>
              <a:pathLst>
                <a:path w="3783" h="7056" extrusionOk="0">
                  <a:moveTo>
                    <a:pt x="3277" y="0"/>
                  </a:moveTo>
                  <a:cubicBezTo>
                    <a:pt x="3114" y="0"/>
                    <a:pt x="2931" y="52"/>
                    <a:pt x="2810" y="180"/>
                  </a:cubicBezTo>
                  <a:cubicBezTo>
                    <a:pt x="2527" y="446"/>
                    <a:pt x="2704" y="1223"/>
                    <a:pt x="2280" y="1647"/>
                  </a:cubicBezTo>
                  <a:cubicBezTo>
                    <a:pt x="2143" y="1785"/>
                    <a:pt x="1998" y="1839"/>
                    <a:pt x="1855" y="1839"/>
                  </a:cubicBezTo>
                  <a:cubicBezTo>
                    <a:pt x="1556" y="1839"/>
                    <a:pt x="1264" y="1603"/>
                    <a:pt x="1061" y="1400"/>
                  </a:cubicBezTo>
                  <a:cubicBezTo>
                    <a:pt x="983" y="1323"/>
                    <a:pt x="881" y="1293"/>
                    <a:pt x="770" y="1293"/>
                  </a:cubicBezTo>
                  <a:cubicBezTo>
                    <a:pt x="425" y="1293"/>
                    <a:pt x="0" y="1577"/>
                    <a:pt x="0" y="1577"/>
                  </a:cubicBezTo>
                  <a:cubicBezTo>
                    <a:pt x="0" y="1577"/>
                    <a:pt x="18" y="4086"/>
                    <a:pt x="248" y="4298"/>
                  </a:cubicBezTo>
                  <a:cubicBezTo>
                    <a:pt x="460" y="4510"/>
                    <a:pt x="1343" y="4970"/>
                    <a:pt x="1343" y="5164"/>
                  </a:cubicBezTo>
                  <a:cubicBezTo>
                    <a:pt x="1343" y="5341"/>
                    <a:pt x="1361" y="7055"/>
                    <a:pt x="1573" y="7055"/>
                  </a:cubicBezTo>
                  <a:cubicBezTo>
                    <a:pt x="1768" y="7055"/>
                    <a:pt x="2740" y="6684"/>
                    <a:pt x="2793" y="6543"/>
                  </a:cubicBezTo>
                  <a:cubicBezTo>
                    <a:pt x="2934" y="6101"/>
                    <a:pt x="2757" y="5306"/>
                    <a:pt x="2669" y="4581"/>
                  </a:cubicBezTo>
                  <a:cubicBezTo>
                    <a:pt x="2581" y="3856"/>
                    <a:pt x="3782" y="2478"/>
                    <a:pt x="3782" y="1965"/>
                  </a:cubicBezTo>
                  <a:cubicBezTo>
                    <a:pt x="3782" y="1435"/>
                    <a:pt x="3641" y="357"/>
                    <a:pt x="3641" y="180"/>
                  </a:cubicBezTo>
                  <a:cubicBezTo>
                    <a:pt x="3641" y="75"/>
                    <a:pt x="3473" y="0"/>
                    <a:pt x="327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7" name="Google Shape;539;p24">
              <a:extLst>
                <a:ext uri="{FF2B5EF4-FFF2-40B4-BE49-F238E27FC236}">
                  <a16:creationId xmlns:a16="http://schemas.microsoft.com/office/drawing/2014/main" id="{B94D1788-17B2-40B0-93FD-3257E5BBBAA5}"/>
                </a:ext>
              </a:extLst>
            </p:cNvPr>
            <p:cNvSpPr/>
            <p:nvPr/>
          </p:nvSpPr>
          <p:spPr>
            <a:xfrm>
              <a:off x="2206825" y="1820975"/>
              <a:ext cx="105825" cy="78350"/>
            </a:xfrm>
            <a:custGeom>
              <a:avLst/>
              <a:gdLst/>
              <a:ahLst/>
              <a:cxnLst/>
              <a:rect l="l" t="t" r="r" b="b"/>
              <a:pathLst>
                <a:path w="4233" h="3134" extrusionOk="0">
                  <a:moveTo>
                    <a:pt x="4036" y="0"/>
                  </a:moveTo>
                  <a:cubicBezTo>
                    <a:pt x="3424" y="0"/>
                    <a:pt x="1585" y="713"/>
                    <a:pt x="1423" y="875"/>
                  </a:cubicBezTo>
                  <a:cubicBezTo>
                    <a:pt x="1211" y="1069"/>
                    <a:pt x="1140" y="1829"/>
                    <a:pt x="1140" y="1988"/>
                  </a:cubicBezTo>
                  <a:cubicBezTo>
                    <a:pt x="1140" y="2165"/>
                    <a:pt x="168" y="2677"/>
                    <a:pt x="168" y="2677"/>
                  </a:cubicBezTo>
                  <a:cubicBezTo>
                    <a:pt x="1" y="2845"/>
                    <a:pt x="318" y="3133"/>
                    <a:pt x="902" y="3133"/>
                  </a:cubicBezTo>
                  <a:cubicBezTo>
                    <a:pt x="1182" y="3133"/>
                    <a:pt x="1522" y="3067"/>
                    <a:pt x="1900" y="2889"/>
                  </a:cubicBezTo>
                  <a:cubicBezTo>
                    <a:pt x="3049" y="2342"/>
                    <a:pt x="4233" y="504"/>
                    <a:pt x="4233" y="97"/>
                  </a:cubicBezTo>
                  <a:cubicBezTo>
                    <a:pt x="4233" y="29"/>
                    <a:pt x="4159" y="0"/>
                    <a:pt x="4036"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8" name="Google Shape;540;p24">
              <a:extLst>
                <a:ext uri="{FF2B5EF4-FFF2-40B4-BE49-F238E27FC236}">
                  <a16:creationId xmlns:a16="http://schemas.microsoft.com/office/drawing/2014/main" id="{97989956-AA8D-43A2-922D-D7397B2F1D01}"/>
                </a:ext>
              </a:extLst>
            </p:cNvPr>
            <p:cNvSpPr/>
            <p:nvPr/>
          </p:nvSpPr>
          <p:spPr>
            <a:xfrm>
              <a:off x="2130275" y="1903400"/>
              <a:ext cx="86300" cy="95000"/>
            </a:xfrm>
            <a:custGeom>
              <a:avLst/>
              <a:gdLst/>
              <a:ahLst/>
              <a:cxnLst/>
              <a:rect l="l" t="t" r="r" b="b"/>
              <a:pathLst>
                <a:path w="3452" h="3800" extrusionOk="0">
                  <a:moveTo>
                    <a:pt x="1835" y="0"/>
                  </a:moveTo>
                  <a:cubicBezTo>
                    <a:pt x="1753" y="0"/>
                    <a:pt x="1685" y="21"/>
                    <a:pt x="1640" y="70"/>
                  </a:cubicBezTo>
                  <a:cubicBezTo>
                    <a:pt x="1640" y="70"/>
                    <a:pt x="756" y="1590"/>
                    <a:pt x="756" y="1996"/>
                  </a:cubicBezTo>
                  <a:cubicBezTo>
                    <a:pt x="756" y="2402"/>
                    <a:pt x="544" y="3215"/>
                    <a:pt x="243" y="3534"/>
                  </a:cubicBezTo>
                  <a:cubicBezTo>
                    <a:pt x="0" y="3777"/>
                    <a:pt x="301" y="3800"/>
                    <a:pt x="669" y="3800"/>
                  </a:cubicBezTo>
                  <a:cubicBezTo>
                    <a:pt x="755" y="3800"/>
                    <a:pt x="845" y="3799"/>
                    <a:pt x="933" y="3799"/>
                  </a:cubicBezTo>
                  <a:cubicBezTo>
                    <a:pt x="1392" y="3799"/>
                    <a:pt x="2152" y="2120"/>
                    <a:pt x="2346" y="1925"/>
                  </a:cubicBezTo>
                  <a:cubicBezTo>
                    <a:pt x="2523" y="1749"/>
                    <a:pt x="2877" y="1430"/>
                    <a:pt x="3177" y="1112"/>
                  </a:cubicBezTo>
                  <a:cubicBezTo>
                    <a:pt x="3452" y="853"/>
                    <a:pt x="2356" y="0"/>
                    <a:pt x="1835"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39" name="Google Shape;541;p24">
              <a:extLst>
                <a:ext uri="{FF2B5EF4-FFF2-40B4-BE49-F238E27FC236}">
                  <a16:creationId xmlns:a16="http://schemas.microsoft.com/office/drawing/2014/main" id="{7A3031C1-BAD0-45FB-8094-C7049C0BE8B7}"/>
                </a:ext>
              </a:extLst>
            </p:cNvPr>
            <p:cNvSpPr/>
            <p:nvPr/>
          </p:nvSpPr>
          <p:spPr>
            <a:xfrm>
              <a:off x="2216750" y="1922675"/>
              <a:ext cx="55700" cy="112375"/>
            </a:xfrm>
            <a:custGeom>
              <a:avLst/>
              <a:gdLst/>
              <a:ahLst/>
              <a:cxnLst/>
              <a:rect l="l" t="t" r="r" b="b"/>
              <a:pathLst>
                <a:path w="2228" h="4495" extrusionOk="0">
                  <a:moveTo>
                    <a:pt x="1550" y="1"/>
                  </a:moveTo>
                  <a:cubicBezTo>
                    <a:pt x="1478" y="1"/>
                    <a:pt x="1411" y="23"/>
                    <a:pt x="1362" y="76"/>
                  </a:cubicBezTo>
                  <a:cubicBezTo>
                    <a:pt x="1097" y="324"/>
                    <a:pt x="1" y="1048"/>
                    <a:pt x="1" y="1296"/>
                  </a:cubicBezTo>
                  <a:cubicBezTo>
                    <a:pt x="1" y="1296"/>
                    <a:pt x="778" y="2409"/>
                    <a:pt x="778" y="2851"/>
                  </a:cubicBezTo>
                  <a:cubicBezTo>
                    <a:pt x="778" y="3293"/>
                    <a:pt x="849" y="4495"/>
                    <a:pt x="1185" y="4495"/>
                  </a:cubicBezTo>
                  <a:cubicBezTo>
                    <a:pt x="1521" y="4495"/>
                    <a:pt x="2016" y="3576"/>
                    <a:pt x="2016" y="3310"/>
                  </a:cubicBezTo>
                  <a:cubicBezTo>
                    <a:pt x="2016" y="3028"/>
                    <a:pt x="1750" y="854"/>
                    <a:pt x="2016" y="589"/>
                  </a:cubicBezTo>
                  <a:cubicBezTo>
                    <a:pt x="2228" y="363"/>
                    <a:pt x="1840" y="1"/>
                    <a:pt x="1550"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0" name="Google Shape;542;p24">
              <a:extLst>
                <a:ext uri="{FF2B5EF4-FFF2-40B4-BE49-F238E27FC236}">
                  <a16:creationId xmlns:a16="http://schemas.microsoft.com/office/drawing/2014/main" id="{3483B641-4185-4EB8-875F-EED320CF4B3A}"/>
                </a:ext>
              </a:extLst>
            </p:cNvPr>
            <p:cNvSpPr/>
            <p:nvPr/>
          </p:nvSpPr>
          <p:spPr>
            <a:xfrm>
              <a:off x="3605375" y="2654850"/>
              <a:ext cx="51775" cy="58750"/>
            </a:xfrm>
            <a:custGeom>
              <a:avLst/>
              <a:gdLst/>
              <a:ahLst/>
              <a:cxnLst/>
              <a:rect l="l" t="t" r="r" b="b"/>
              <a:pathLst>
                <a:path w="2071" h="2350" extrusionOk="0">
                  <a:moveTo>
                    <a:pt x="502" y="1"/>
                  </a:moveTo>
                  <a:cubicBezTo>
                    <a:pt x="463" y="1"/>
                    <a:pt x="432" y="12"/>
                    <a:pt x="409" y="38"/>
                  </a:cubicBezTo>
                  <a:cubicBezTo>
                    <a:pt x="232" y="197"/>
                    <a:pt x="126" y="1593"/>
                    <a:pt x="126" y="1593"/>
                  </a:cubicBezTo>
                  <a:cubicBezTo>
                    <a:pt x="1" y="1735"/>
                    <a:pt x="1101" y="2350"/>
                    <a:pt x="1486" y="2350"/>
                  </a:cubicBezTo>
                  <a:cubicBezTo>
                    <a:pt x="1534" y="2350"/>
                    <a:pt x="1571" y="2340"/>
                    <a:pt x="1593" y="2318"/>
                  </a:cubicBezTo>
                  <a:cubicBezTo>
                    <a:pt x="1805" y="2106"/>
                    <a:pt x="2070" y="1293"/>
                    <a:pt x="1593" y="816"/>
                  </a:cubicBezTo>
                  <a:cubicBezTo>
                    <a:pt x="1185" y="408"/>
                    <a:pt x="726" y="1"/>
                    <a:pt x="502"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1" name="Google Shape;543;p24">
              <a:extLst>
                <a:ext uri="{FF2B5EF4-FFF2-40B4-BE49-F238E27FC236}">
                  <a16:creationId xmlns:a16="http://schemas.microsoft.com/office/drawing/2014/main" id="{A8124D83-D617-440E-8EBD-D71121EE6CA4}"/>
                </a:ext>
              </a:extLst>
            </p:cNvPr>
            <p:cNvSpPr/>
            <p:nvPr/>
          </p:nvSpPr>
          <p:spPr>
            <a:xfrm>
              <a:off x="3724275" y="2566975"/>
              <a:ext cx="54375" cy="73425"/>
            </a:xfrm>
            <a:custGeom>
              <a:avLst/>
              <a:gdLst/>
              <a:ahLst/>
              <a:cxnLst/>
              <a:rect l="l" t="t" r="r" b="b"/>
              <a:pathLst>
                <a:path w="2175" h="2937" extrusionOk="0">
                  <a:moveTo>
                    <a:pt x="442" y="1"/>
                  </a:moveTo>
                  <a:cubicBezTo>
                    <a:pt x="124" y="1"/>
                    <a:pt x="0" y="1556"/>
                    <a:pt x="0" y="1556"/>
                  </a:cubicBezTo>
                  <a:cubicBezTo>
                    <a:pt x="0" y="1765"/>
                    <a:pt x="847" y="2937"/>
                    <a:pt x="1200" y="2937"/>
                  </a:cubicBezTo>
                  <a:cubicBezTo>
                    <a:pt x="1236" y="2937"/>
                    <a:pt x="1266" y="2925"/>
                    <a:pt x="1291" y="2899"/>
                  </a:cubicBezTo>
                  <a:cubicBezTo>
                    <a:pt x="1556" y="2634"/>
                    <a:pt x="2174" y="1857"/>
                    <a:pt x="2174" y="1538"/>
                  </a:cubicBezTo>
                  <a:cubicBezTo>
                    <a:pt x="2174" y="1238"/>
                    <a:pt x="743" y="1"/>
                    <a:pt x="442"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2" name="Google Shape;544;p24">
              <a:extLst>
                <a:ext uri="{FF2B5EF4-FFF2-40B4-BE49-F238E27FC236}">
                  <a16:creationId xmlns:a16="http://schemas.microsoft.com/office/drawing/2014/main" id="{C4A0E785-A88D-4EE8-AB55-5746C1CBE660}"/>
                </a:ext>
              </a:extLst>
            </p:cNvPr>
            <p:cNvSpPr/>
            <p:nvPr/>
          </p:nvSpPr>
          <p:spPr>
            <a:xfrm>
              <a:off x="3432225" y="2603650"/>
              <a:ext cx="54375" cy="48250"/>
            </a:xfrm>
            <a:custGeom>
              <a:avLst/>
              <a:gdLst/>
              <a:ahLst/>
              <a:cxnLst/>
              <a:rect l="l" t="t" r="r" b="b"/>
              <a:pathLst>
                <a:path w="2175" h="1930" extrusionOk="0">
                  <a:moveTo>
                    <a:pt x="1043" y="1"/>
                  </a:moveTo>
                  <a:cubicBezTo>
                    <a:pt x="725" y="1"/>
                    <a:pt x="1" y="531"/>
                    <a:pt x="1" y="531"/>
                  </a:cubicBezTo>
                  <a:cubicBezTo>
                    <a:pt x="1" y="756"/>
                    <a:pt x="832" y="1929"/>
                    <a:pt x="1197" y="1929"/>
                  </a:cubicBezTo>
                  <a:cubicBezTo>
                    <a:pt x="1233" y="1929"/>
                    <a:pt x="1265" y="1918"/>
                    <a:pt x="1291" y="1892"/>
                  </a:cubicBezTo>
                  <a:cubicBezTo>
                    <a:pt x="1556" y="1627"/>
                    <a:pt x="2174" y="849"/>
                    <a:pt x="2174" y="531"/>
                  </a:cubicBezTo>
                  <a:cubicBezTo>
                    <a:pt x="2174" y="231"/>
                    <a:pt x="1344" y="1"/>
                    <a:pt x="1043"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3" name="Google Shape;545;p24">
              <a:extLst>
                <a:ext uri="{FF2B5EF4-FFF2-40B4-BE49-F238E27FC236}">
                  <a16:creationId xmlns:a16="http://schemas.microsoft.com/office/drawing/2014/main" id="{0A75B900-BC81-4D02-AF6E-604AD18B63E0}"/>
                </a:ext>
              </a:extLst>
            </p:cNvPr>
            <p:cNvSpPr/>
            <p:nvPr/>
          </p:nvSpPr>
          <p:spPr>
            <a:xfrm>
              <a:off x="3871400" y="2313650"/>
              <a:ext cx="61000" cy="172075"/>
            </a:xfrm>
            <a:custGeom>
              <a:avLst/>
              <a:gdLst/>
              <a:ahLst/>
              <a:cxnLst/>
              <a:rect l="l" t="t" r="r" b="b"/>
              <a:pathLst>
                <a:path w="2440" h="6883" extrusionOk="0">
                  <a:moveTo>
                    <a:pt x="1647" y="0"/>
                  </a:moveTo>
                  <a:cubicBezTo>
                    <a:pt x="1634" y="0"/>
                    <a:pt x="1626" y="8"/>
                    <a:pt x="1626" y="25"/>
                  </a:cubicBezTo>
                  <a:cubicBezTo>
                    <a:pt x="1626" y="484"/>
                    <a:pt x="1556" y="2641"/>
                    <a:pt x="1220" y="2976"/>
                  </a:cubicBezTo>
                  <a:cubicBezTo>
                    <a:pt x="867" y="3312"/>
                    <a:pt x="89" y="5839"/>
                    <a:pt x="89" y="5839"/>
                  </a:cubicBezTo>
                  <a:cubicBezTo>
                    <a:pt x="1" y="6122"/>
                    <a:pt x="990" y="6882"/>
                    <a:pt x="1132" y="6882"/>
                  </a:cubicBezTo>
                  <a:cubicBezTo>
                    <a:pt x="1273" y="6882"/>
                    <a:pt x="2245" y="3754"/>
                    <a:pt x="2245" y="3383"/>
                  </a:cubicBezTo>
                  <a:cubicBezTo>
                    <a:pt x="2245" y="3029"/>
                    <a:pt x="2439" y="1209"/>
                    <a:pt x="2439" y="944"/>
                  </a:cubicBezTo>
                  <a:cubicBezTo>
                    <a:pt x="2439" y="704"/>
                    <a:pt x="1773" y="0"/>
                    <a:pt x="164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4" name="Google Shape;546;p24">
              <a:extLst>
                <a:ext uri="{FF2B5EF4-FFF2-40B4-BE49-F238E27FC236}">
                  <a16:creationId xmlns:a16="http://schemas.microsoft.com/office/drawing/2014/main" id="{AF384F14-6B55-4597-9720-D51447ABF21C}"/>
                </a:ext>
              </a:extLst>
            </p:cNvPr>
            <p:cNvSpPr/>
            <p:nvPr/>
          </p:nvSpPr>
          <p:spPr>
            <a:xfrm>
              <a:off x="3997325" y="2212650"/>
              <a:ext cx="121525" cy="176750"/>
            </a:xfrm>
            <a:custGeom>
              <a:avLst/>
              <a:gdLst/>
              <a:ahLst/>
              <a:cxnLst/>
              <a:rect l="l" t="t" r="r" b="b"/>
              <a:pathLst>
                <a:path w="4861" h="7070" extrusionOk="0">
                  <a:moveTo>
                    <a:pt x="3199" y="0"/>
                  </a:moveTo>
                  <a:cubicBezTo>
                    <a:pt x="2881" y="0"/>
                    <a:pt x="354" y="1926"/>
                    <a:pt x="248" y="2315"/>
                  </a:cubicBezTo>
                  <a:cubicBezTo>
                    <a:pt x="124" y="2686"/>
                    <a:pt x="0" y="6186"/>
                    <a:pt x="0" y="6468"/>
                  </a:cubicBezTo>
                  <a:cubicBezTo>
                    <a:pt x="0" y="6734"/>
                    <a:pt x="36" y="7069"/>
                    <a:pt x="442" y="7069"/>
                  </a:cubicBezTo>
                  <a:cubicBezTo>
                    <a:pt x="849" y="7069"/>
                    <a:pt x="2934" y="4030"/>
                    <a:pt x="3076" y="3711"/>
                  </a:cubicBezTo>
                  <a:cubicBezTo>
                    <a:pt x="3217" y="3393"/>
                    <a:pt x="2492" y="1909"/>
                    <a:pt x="2757" y="1661"/>
                  </a:cubicBezTo>
                  <a:cubicBezTo>
                    <a:pt x="3005" y="1396"/>
                    <a:pt x="3871" y="1379"/>
                    <a:pt x="4048" y="1202"/>
                  </a:cubicBezTo>
                  <a:cubicBezTo>
                    <a:pt x="4224" y="1025"/>
                    <a:pt x="4860" y="407"/>
                    <a:pt x="4860" y="265"/>
                  </a:cubicBezTo>
                  <a:cubicBezTo>
                    <a:pt x="4860" y="141"/>
                    <a:pt x="3535" y="0"/>
                    <a:pt x="3199"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5" name="Google Shape;547;p24">
              <a:extLst>
                <a:ext uri="{FF2B5EF4-FFF2-40B4-BE49-F238E27FC236}">
                  <a16:creationId xmlns:a16="http://schemas.microsoft.com/office/drawing/2014/main" id="{BF09BE80-F869-4E84-BC18-AF9FCBE41BA7}"/>
                </a:ext>
              </a:extLst>
            </p:cNvPr>
            <p:cNvSpPr/>
            <p:nvPr/>
          </p:nvSpPr>
          <p:spPr>
            <a:xfrm>
              <a:off x="4712050" y="4846150"/>
              <a:ext cx="55400" cy="72175"/>
            </a:xfrm>
            <a:custGeom>
              <a:avLst/>
              <a:gdLst/>
              <a:ahLst/>
              <a:cxnLst/>
              <a:rect l="l" t="t" r="r" b="b"/>
              <a:pathLst>
                <a:path w="2216" h="2887" extrusionOk="0">
                  <a:moveTo>
                    <a:pt x="1179" y="1"/>
                  </a:moveTo>
                  <a:cubicBezTo>
                    <a:pt x="622" y="1"/>
                    <a:pt x="0" y="94"/>
                    <a:pt x="42" y="292"/>
                  </a:cubicBezTo>
                  <a:cubicBezTo>
                    <a:pt x="77" y="434"/>
                    <a:pt x="307" y="2448"/>
                    <a:pt x="572" y="2713"/>
                  </a:cubicBezTo>
                  <a:cubicBezTo>
                    <a:pt x="703" y="2836"/>
                    <a:pt x="1018" y="2887"/>
                    <a:pt x="1320" y="2887"/>
                  </a:cubicBezTo>
                  <a:cubicBezTo>
                    <a:pt x="1671" y="2887"/>
                    <a:pt x="2004" y="2818"/>
                    <a:pt x="2004" y="2713"/>
                  </a:cubicBezTo>
                  <a:cubicBezTo>
                    <a:pt x="2004" y="2519"/>
                    <a:pt x="2216" y="345"/>
                    <a:pt x="2004" y="133"/>
                  </a:cubicBezTo>
                  <a:cubicBezTo>
                    <a:pt x="1924" y="46"/>
                    <a:pt x="1567" y="1"/>
                    <a:pt x="1179"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6" name="Google Shape;548;p24">
              <a:extLst>
                <a:ext uri="{FF2B5EF4-FFF2-40B4-BE49-F238E27FC236}">
                  <a16:creationId xmlns:a16="http://schemas.microsoft.com/office/drawing/2014/main" id="{DCFD7835-D22C-4E65-B6B8-E437B57692F2}"/>
                </a:ext>
              </a:extLst>
            </p:cNvPr>
            <p:cNvSpPr/>
            <p:nvPr/>
          </p:nvSpPr>
          <p:spPr>
            <a:xfrm>
              <a:off x="4770525" y="4981700"/>
              <a:ext cx="61875" cy="65000"/>
            </a:xfrm>
            <a:custGeom>
              <a:avLst/>
              <a:gdLst/>
              <a:ahLst/>
              <a:cxnLst/>
              <a:rect l="l" t="t" r="r" b="b"/>
              <a:pathLst>
                <a:path w="2475" h="2600" extrusionOk="0">
                  <a:moveTo>
                    <a:pt x="2089" y="0"/>
                  </a:moveTo>
                  <a:cubicBezTo>
                    <a:pt x="1621" y="0"/>
                    <a:pt x="0" y="1727"/>
                    <a:pt x="0" y="1727"/>
                  </a:cubicBezTo>
                  <a:cubicBezTo>
                    <a:pt x="0" y="1969"/>
                    <a:pt x="207" y="2599"/>
                    <a:pt x="444" y="2599"/>
                  </a:cubicBezTo>
                  <a:cubicBezTo>
                    <a:pt x="484" y="2599"/>
                    <a:pt x="525" y="2581"/>
                    <a:pt x="566" y="2540"/>
                  </a:cubicBezTo>
                  <a:cubicBezTo>
                    <a:pt x="849" y="2275"/>
                    <a:pt x="2333" y="1498"/>
                    <a:pt x="2333" y="1286"/>
                  </a:cubicBezTo>
                  <a:cubicBezTo>
                    <a:pt x="2333" y="1091"/>
                    <a:pt x="2475" y="331"/>
                    <a:pt x="2174" y="31"/>
                  </a:cubicBezTo>
                  <a:cubicBezTo>
                    <a:pt x="2153" y="10"/>
                    <a:pt x="2124" y="0"/>
                    <a:pt x="2089"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7" name="Google Shape;549;p24">
              <a:extLst>
                <a:ext uri="{FF2B5EF4-FFF2-40B4-BE49-F238E27FC236}">
                  <a16:creationId xmlns:a16="http://schemas.microsoft.com/office/drawing/2014/main" id="{6927F6AE-9CC0-446D-A19B-D68910E416C6}"/>
                </a:ext>
              </a:extLst>
            </p:cNvPr>
            <p:cNvSpPr/>
            <p:nvPr/>
          </p:nvSpPr>
          <p:spPr>
            <a:xfrm>
              <a:off x="4860650" y="5156175"/>
              <a:ext cx="53500" cy="61125"/>
            </a:xfrm>
            <a:custGeom>
              <a:avLst/>
              <a:gdLst/>
              <a:ahLst/>
              <a:cxnLst/>
              <a:rect l="l" t="t" r="r" b="b"/>
              <a:pathLst>
                <a:path w="2140" h="2445" extrusionOk="0">
                  <a:moveTo>
                    <a:pt x="495" y="1"/>
                  </a:moveTo>
                  <a:cubicBezTo>
                    <a:pt x="364" y="1"/>
                    <a:pt x="266" y="69"/>
                    <a:pt x="266" y="227"/>
                  </a:cubicBezTo>
                  <a:cubicBezTo>
                    <a:pt x="266" y="227"/>
                    <a:pt x="566" y="1058"/>
                    <a:pt x="266" y="1340"/>
                  </a:cubicBezTo>
                  <a:cubicBezTo>
                    <a:pt x="1" y="1641"/>
                    <a:pt x="1" y="2100"/>
                    <a:pt x="266" y="2401"/>
                  </a:cubicBezTo>
                  <a:cubicBezTo>
                    <a:pt x="298" y="2431"/>
                    <a:pt x="345" y="2444"/>
                    <a:pt x="403" y="2444"/>
                  </a:cubicBezTo>
                  <a:cubicBezTo>
                    <a:pt x="786" y="2444"/>
                    <a:pt x="1644" y="1854"/>
                    <a:pt x="1874" y="1623"/>
                  </a:cubicBezTo>
                  <a:cubicBezTo>
                    <a:pt x="2139" y="1358"/>
                    <a:pt x="1238" y="492"/>
                    <a:pt x="973" y="227"/>
                  </a:cubicBezTo>
                  <a:cubicBezTo>
                    <a:pt x="832" y="87"/>
                    <a:pt x="643" y="1"/>
                    <a:pt x="49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8" name="Google Shape;550;p24">
              <a:extLst>
                <a:ext uri="{FF2B5EF4-FFF2-40B4-BE49-F238E27FC236}">
                  <a16:creationId xmlns:a16="http://schemas.microsoft.com/office/drawing/2014/main" id="{0EFB8716-B337-42FF-B3DA-84A11D8155FC}"/>
                </a:ext>
              </a:extLst>
            </p:cNvPr>
            <p:cNvSpPr/>
            <p:nvPr/>
          </p:nvSpPr>
          <p:spPr>
            <a:xfrm>
              <a:off x="4687900" y="5049425"/>
              <a:ext cx="71600" cy="32900"/>
            </a:xfrm>
            <a:custGeom>
              <a:avLst/>
              <a:gdLst/>
              <a:ahLst/>
              <a:cxnLst/>
              <a:rect l="l" t="t" r="r" b="b"/>
              <a:pathLst>
                <a:path w="2864" h="1316" extrusionOk="0">
                  <a:moveTo>
                    <a:pt x="2475" y="0"/>
                  </a:moveTo>
                  <a:cubicBezTo>
                    <a:pt x="1742" y="0"/>
                    <a:pt x="222" y="276"/>
                    <a:pt x="195" y="450"/>
                  </a:cubicBezTo>
                  <a:cubicBezTo>
                    <a:pt x="195" y="450"/>
                    <a:pt x="0" y="1316"/>
                    <a:pt x="478" y="1316"/>
                  </a:cubicBezTo>
                  <a:cubicBezTo>
                    <a:pt x="893" y="1316"/>
                    <a:pt x="2216" y="1049"/>
                    <a:pt x="2624" y="1049"/>
                  </a:cubicBezTo>
                  <a:cubicBezTo>
                    <a:pt x="2685" y="1049"/>
                    <a:pt x="2726" y="1055"/>
                    <a:pt x="2740" y="1069"/>
                  </a:cubicBezTo>
                  <a:cubicBezTo>
                    <a:pt x="2744" y="1073"/>
                    <a:pt x="2749" y="1075"/>
                    <a:pt x="2753" y="1075"/>
                  </a:cubicBezTo>
                  <a:cubicBezTo>
                    <a:pt x="2832" y="1075"/>
                    <a:pt x="2863" y="348"/>
                    <a:pt x="2863" y="96"/>
                  </a:cubicBezTo>
                  <a:cubicBezTo>
                    <a:pt x="2863" y="28"/>
                    <a:pt x="2709" y="0"/>
                    <a:pt x="2475"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49" name="Google Shape;551;p24">
              <a:extLst>
                <a:ext uri="{FF2B5EF4-FFF2-40B4-BE49-F238E27FC236}">
                  <a16:creationId xmlns:a16="http://schemas.microsoft.com/office/drawing/2014/main" id="{CFBF03BD-AA1C-48E0-BE53-98BC87B0A64D}"/>
                </a:ext>
              </a:extLst>
            </p:cNvPr>
            <p:cNvSpPr/>
            <p:nvPr/>
          </p:nvSpPr>
          <p:spPr>
            <a:xfrm>
              <a:off x="4711750" y="5099975"/>
              <a:ext cx="47750" cy="29025"/>
            </a:xfrm>
            <a:custGeom>
              <a:avLst/>
              <a:gdLst/>
              <a:ahLst/>
              <a:cxnLst/>
              <a:rect l="l" t="t" r="r" b="b"/>
              <a:pathLst>
                <a:path w="1910" h="1161" extrusionOk="0">
                  <a:moveTo>
                    <a:pt x="1220" y="1"/>
                  </a:moveTo>
                  <a:cubicBezTo>
                    <a:pt x="849" y="1"/>
                    <a:pt x="1" y="248"/>
                    <a:pt x="1" y="513"/>
                  </a:cubicBezTo>
                  <a:cubicBezTo>
                    <a:pt x="1" y="513"/>
                    <a:pt x="549" y="1150"/>
                    <a:pt x="761" y="1150"/>
                  </a:cubicBezTo>
                  <a:cubicBezTo>
                    <a:pt x="838" y="1150"/>
                    <a:pt x="1038" y="1161"/>
                    <a:pt x="1249" y="1161"/>
                  </a:cubicBezTo>
                  <a:cubicBezTo>
                    <a:pt x="1566" y="1161"/>
                    <a:pt x="1909" y="1135"/>
                    <a:pt x="1909" y="1008"/>
                  </a:cubicBezTo>
                  <a:cubicBezTo>
                    <a:pt x="1909" y="814"/>
                    <a:pt x="1609" y="1"/>
                    <a:pt x="1220"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0" name="Google Shape;552;p24">
              <a:extLst>
                <a:ext uri="{FF2B5EF4-FFF2-40B4-BE49-F238E27FC236}">
                  <a16:creationId xmlns:a16="http://schemas.microsoft.com/office/drawing/2014/main" id="{43F03E87-2F2E-4963-A120-4CE6DB5F4BF3}"/>
                </a:ext>
              </a:extLst>
            </p:cNvPr>
            <p:cNvSpPr/>
            <p:nvPr/>
          </p:nvSpPr>
          <p:spPr>
            <a:xfrm>
              <a:off x="4648125" y="5060400"/>
              <a:ext cx="28750" cy="36075"/>
            </a:xfrm>
            <a:custGeom>
              <a:avLst/>
              <a:gdLst/>
              <a:ahLst/>
              <a:cxnLst/>
              <a:rect l="l" t="t" r="r" b="b"/>
              <a:pathLst>
                <a:path w="1150" h="1443" extrusionOk="0">
                  <a:moveTo>
                    <a:pt x="641" y="0"/>
                  </a:moveTo>
                  <a:cubicBezTo>
                    <a:pt x="633" y="0"/>
                    <a:pt x="626" y="4"/>
                    <a:pt x="619" y="11"/>
                  </a:cubicBezTo>
                  <a:cubicBezTo>
                    <a:pt x="390" y="347"/>
                    <a:pt x="178" y="683"/>
                    <a:pt x="1" y="1036"/>
                  </a:cubicBezTo>
                  <a:cubicBezTo>
                    <a:pt x="1" y="1230"/>
                    <a:pt x="372" y="1442"/>
                    <a:pt x="584" y="1442"/>
                  </a:cubicBezTo>
                  <a:cubicBezTo>
                    <a:pt x="778" y="1442"/>
                    <a:pt x="1150" y="877"/>
                    <a:pt x="1150" y="877"/>
                  </a:cubicBezTo>
                  <a:cubicBezTo>
                    <a:pt x="1150" y="877"/>
                    <a:pt x="774" y="0"/>
                    <a:pt x="641"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1" name="Google Shape;553;p24">
              <a:extLst>
                <a:ext uri="{FF2B5EF4-FFF2-40B4-BE49-F238E27FC236}">
                  <a16:creationId xmlns:a16="http://schemas.microsoft.com/office/drawing/2014/main" id="{ADC3A1F1-99C2-47CB-9EAF-32CBA8F7F9B0}"/>
                </a:ext>
              </a:extLst>
            </p:cNvPr>
            <p:cNvSpPr/>
            <p:nvPr/>
          </p:nvSpPr>
          <p:spPr>
            <a:xfrm>
              <a:off x="4607475" y="4986425"/>
              <a:ext cx="35900" cy="80100"/>
            </a:xfrm>
            <a:custGeom>
              <a:avLst/>
              <a:gdLst/>
              <a:ahLst/>
              <a:cxnLst/>
              <a:rect l="l" t="t" r="r" b="b"/>
              <a:pathLst>
                <a:path w="1436" h="3204" extrusionOk="0">
                  <a:moveTo>
                    <a:pt x="372" y="1"/>
                  </a:moveTo>
                  <a:cubicBezTo>
                    <a:pt x="160" y="1"/>
                    <a:pt x="1" y="1415"/>
                    <a:pt x="1" y="1892"/>
                  </a:cubicBezTo>
                  <a:cubicBezTo>
                    <a:pt x="1" y="2369"/>
                    <a:pt x="301" y="2917"/>
                    <a:pt x="372" y="3164"/>
                  </a:cubicBezTo>
                  <a:cubicBezTo>
                    <a:pt x="379" y="3192"/>
                    <a:pt x="396" y="3204"/>
                    <a:pt x="421" y="3204"/>
                  </a:cubicBezTo>
                  <a:cubicBezTo>
                    <a:pt x="638" y="3204"/>
                    <a:pt x="1436" y="2266"/>
                    <a:pt x="1309" y="2139"/>
                  </a:cubicBezTo>
                  <a:cubicBezTo>
                    <a:pt x="1167" y="1998"/>
                    <a:pt x="1026" y="1344"/>
                    <a:pt x="1026" y="1008"/>
                  </a:cubicBezTo>
                  <a:cubicBezTo>
                    <a:pt x="1026" y="655"/>
                    <a:pt x="566" y="1"/>
                    <a:pt x="372"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2" name="Google Shape;554;p24">
              <a:extLst>
                <a:ext uri="{FF2B5EF4-FFF2-40B4-BE49-F238E27FC236}">
                  <a16:creationId xmlns:a16="http://schemas.microsoft.com/office/drawing/2014/main" id="{50698597-5DAB-4C57-9115-6E1E98661F10}"/>
                </a:ext>
              </a:extLst>
            </p:cNvPr>
            <p:cNvSpPr/>
            <p:nvPr/>
          </p:nvSpPr>
          <p:spPr>
            <a:xfrm>
              <a:off x="4821175" y="5096450"/>
              <a:ext cx="46125" cy="43825"/>
            </a:xfrm>
            <a:custGeom>
              <a:avLst/>
              <a:gdLst/>
              <a:ahLst/>
              <a:cxnLst/>
              <a:rect l="l" t="t" r="r" b="b"/>
              <a:pathLst>
                <a:path w="1845" h="1753" extrusionOk="0">
                  <a:moveTo>
                    <a:pt x="449" y="0"/>
                  </a:moveTo>
                  <a:cubicBezTo>
                    <a:pt x="219" y="0"/>
                    <a:pt x="42" y="1432"/>
                    <a:pt x="42" y="1432"/>
                  </a:cubicBezTo>
                  <a:cubicBezTo>
                    <a:pt x="1" y="1721"/>
                    <a:pt x="569" y="1753"/>
                    <a:pt x="824" y="1753"/>
                  </a:cubicBezTo>
                  <a:cubicBezTo>
                    <a:pt x="896" y="1753"/>
                    <a:pt x="943" y="1750"/>
                    <a:pt x="943" y="1750"/>
                  </a:cubicBezTo>
                  <a:cubicBezTo>
                    <a:pt x="943" y="1750"/>
                    <a:pt x="1845" y="1149"/>
                    <a:pt x="1845" y="813"/>
                  </a:cubicBezTo>
                  <a:cubicBezTo>
                    <a:pt x="1845" y="460"/>
                    <a:pt x="696" y="0"/>
                    <a:pt x="449"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3" name="Google Shape;555;p24">
              <a:extLst>
                <a:ext uri="{FF2B5EF4-FFF2-40B4-BE49-F238E27FC236}">
                  <a16:creationId xmlns:a16="http://schemas.microsoft.com/office/drawing/2014/main" id="{0E5DD288-BCCF-470C-8ED5-E5106A862DF5}"/>
                </a:ext>
              </a:extLst>
            </p:cNvPr>
            <p:cNvSpPr/>
            <p:nvPr/>
          </p:nvSpPr>
          <p:spPr>
            <a:xfrm>
              <a:off x="4774050" y="5070825"/>
              <a:ext cx="33175" cy="35800"/>
            </a:xfrm>
            <a:custGeom>
              <a:avLst/>
              <a:gdLst/>
              <a:ahLst/>
              <a:cxnLst/>
              <a:rect l="l" t="t" r="r" b="b"/>
              <a:pathLst>
                <a:path w="1327" h="1432" extrusionOk="0">
                  <a:moveTo>
                    <a:pt x="884" y="0"/>
                  </a:moveTo>
                  <a:cubicBezTo>
                    <a:pt x="443" y="0"/>
                    <a:pt x="1" y="1025"/>
                    <a:pt x="1" y="1025"/>
                  </a:cubicBezTo>
                  <a:cubicBezTo>
                    <a:pt x="1" y="1185"/>
                    <a:pt x="372" y="1432"/>
                    <a:pt x="655" y="1432"/>
                  </a:cubicBezTo>
                  <a:cubicBezTo>
                    <a:pt x="937" y="1432"/>
                    <a:pt x="1326" y="513"/>
                    <a:pt x="1326" y="513"/>
                  </a:cubicBezTo>
                  <a:cubicBezTo>
                    <a:pt x="1326" y="513"/>
                    <a:pt x="1308" y="0"/>
                    <a:pt x="884"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4" name="Google Shape;556;p24">
              <a:extLst>
                <a:ext uri="{FF2B5EF4-FFF2-40B4-BE49-F238E27FC236}">
                  <a16:creationId xmlns:a16="http://schemas.microsoft.com/office/drawing/2014/main" id="{5B832A2C-172B-4B8F-ABA4-9750B43A7326}"/>
                </a:ext>
              </a:extLst>
            </p:cNvPr>
            <p:cNvSpPr/>
            <p:nvPr/>
          </p:nvSpPr>
          <p:spPr>
            <a:xfrm>
              <a:off x="4211175" y="2082600"/>
              <a:ext cx="101200" cy="153550"/>
            </a:xfrm>
            <a:custGeom>
              <a:avLst/>
              <a:gdLst/>
              <a:ahLst/>
              <a:cxnLst/>
              <a:rect l="l" t="t" r="r" b="b"/>
              <a:pathLst>
                <a:path w="4048" h="6142" extrusionOk="0">
                  <a:moveTo>
                    <a:pt x="2577" y="0"/>
                  </a:moveTo>
                  <a:cubicBezTo>
                    <a:pt x="2094" y="0"/>
                    <a:pt x="1026" y="957"/>
                    <a:pt x="778" y="1190"/>
                  </a:cubicBezTo>
                  <a:cubicBezTo>
                    <a:pt x="513" y="1473"/>
                    <a:pt x="1467" y="2498"/>
                    <a:pt x="1467" y="2887"/>
                  </a:cubicBezTo>
                  <a:cubicBezTo>
                    <a:pt x="1467" y="3276"/>
                    <a:pt x="654" y="3859"/>
                    <a:pt x="477" y="4053"/>
                  </a:cubicBezTo>
                  <a:cubicBezTo>
                    <a:pt x="283" y="4230"/>
                    <a:pt x="0" y="5838"/>
                    <a:pt x="195" y="6033"/>
                  </a:cubicBezTo>
                  <a:cubicBezTo>
                    <a:pt x="278" y="6116"/>
                    <a:pt x="531" y="6141"/>
                    <a:pt x="808" y="6141"/>
                  </a:cubicBezTo>
                  <a:cubicBezTo>
                    <a:pt x="1061" y="6141"/>
                    <a:pt x="1335" y="6120"/>
                    <a:pt x="1520" y="6103"/>
                  </a:cubicBezTo>
                  <a:cubicBezTo>
                    <a:pt x="1661" y="6086"/>
                    <a:pt x="1803" y="6033"/>
                    <a:pt x="1909" y="5944"/>
                  </a:cubicBezTo>
                  <a:cubicBezTo>
                    <a:pt x="2457" y="5520"/>
                    <a:pt x="4047" y="4248"/>
                    <a:pt x="4047" y="3965"/>
                  </a:cubicBezTo>
                  <a:cubicBezTo>
                    <a:pt x="4047" y="3594"/>
                    <a:pt x="3323" y="2374"/>
                    <a:pt x="3323" y="2003"/>
                  </a:cubicBezTo>
                  <a:cubicBezTo>
                    <a:pt x="3323" y="1650"/>
                    <a:pt x="3075" y="395"/>
                    <a:pt x="2739" y="59"/>
                  </a:cubicBezTo>
                  <a:cubicBezTo>
                    <a:pt x="2699" y="19"/>
                    <a:pt x="2644" y="0"/>
                    <a:pt x="257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5" name="Google Shape;557;p24">
              <a:extLst>
                <a:ext uri="{FF2B5EF4-FFF2-40B4-BE49-F238E27FC236}">
                  <a16:creationId xmlns:a16="http://schemas.microsoft.com/office/drawing/2014/main" id="{2F6C30DA-4B65-49E2-A99C-4BDE695360FA}"/>
                </a:ext>
              </a:extLst>
            </p:cNvPr>
            <p:cNvSpPr/>
            <p:nvPr/>
          </p:nvSpPr>
          <p:spPr>
            <a:xfrm>
              <a:off x="1914100" y="1838125"/>
              <a:ext cx="729925" cy="1141100"/>
            </a:xfrm>
            <a:custGeom>
              <a:avLst/>
              <a:gdLst/>
              <a:ahLst/>
              <a:cxnLst/>
              <a:rect l="l" t="t" r="r" b="b"/>
              <a:pathLst>
                <a:path w="29197" h="45644" extrusionOk="0">
                  <a:moveTo>
                    <a:pt x="19180" y="0"/>
                  </a:moveTo>
                  <a:cubicBezTo>
                    <a:pt x="19095" y="0"/>
                    <a:pt x="19022" y="25"/>
                    <a:pt x="18964" y="83"/>
                  </a:cubicBezTo>
                  <a:cubicBezTo>
                    <a:pt x="18575" y="454"/>
                    <a:pt x="15200" y="3971"/>
                    <a:pt x="14793" y="4377"/>
                  </a:cubicBezTo>
                  <a:cubicBezTo>
                    <a:pt x="14493" y="4678"/>
                    <a:pt x="14563" y="6127"/>
                    <a:pt x="14740" y="6975"/>
                  </a:cubicBezTo>
                  <a:cubicBezTo>
                    <a:pt x="14762" y="7098"/>
                    <a:pt x="14870" y="7127"/>
                    <a:pt x="14990" y="7127"/>
                  </a:cubicBezTo>
                  <a:cubicBezTo>
                    <a:pt x="15090" y="7127"/>
                    <a:pt x="15198" y="7107"/>
                    <a:pt x="15272" y="7107"/>
                  </a:cubicBezTo>
                  <a:cubicBezTo>
                    <a:pt x="15324" y="7107"/>
                    <a:pt x="15359" y="7117"/>
                    <a:pt x="15359" y="7152"/>
                  </a:cubicBezTo>
                  <a:cubicBezTo>
                    <a:pt x="15359" y="7700"/>
                    <a:pt x="12319" y="9980"/>
                    <a:pt x="12319" y="10351"/>
                  </a:cubicBezTo>
                  <a:cubicBezTo>
                    <a:pt x="12319" y="10449"/>
                    <a:pt x="12419" y="10500"/>
                    <a:pt x="12629" y="10500"/>
                  </a:cubicBezTo>
                  <a:cubicBezTo>
                    <a:pt x="12759" y="10500"/>
                    <a:pt x="12932" y="10480"/>
                    <a:pt x="13150" y="10439"/>
                  </a:cubicBezTo>
                  <a:cubicBezTo>
                    <a:pt x="13695" y="10321"/>
                    <a:pt x="14585" y="9846"/>
                    <a:pt x="14701" y="9846"/>
                  </a:cubicBezTo>
                  <a:cubicBezTo>
                    <a:pt x="14724" y="9846"/>
                    <a:pt x="14716" y="9865"/>
                    <a:pt x="14669" y="9909"/>
                  </a:cubicBezTo>
                  <a:cubicBezTo>
                    <a:pt x="14563" y="10015"/>
                    <a:pt x="13574" y="11305"/>
                    <a:pt x="13468" y="11482"/>
                  </a:cubicBezTo>
                  <a:cubicBezTo>
                    <a:pt x="13061" y="12189"/>
                    <a:pt x="12690" y="12931"/>
                    <a:pt x="12390" y="13673"/>
                  </a:cubicBezTo>
                  <a:cubicBezTo>
                    <a:pt x="12231" y="14239"/>
                    <a:pt x="11895" y="14734"/>
                    <a:pt x="11453" y="15105"/>
                  </a:cubicBezTo>
                  <a:cubicBezTo>
                    <a:pt x="11099" y="15370"/>
                    <a:pt x="10251" y="15706"/>
                    <a:pt x="10163" y="15882"/>
                  </a:cubicBezTo>
                  <a:cubicBezTo>
                    <a:pt x="10057" y="16165"/>
                    <a:pt x="11365" y="16165"/>
                    <a:pt x="11524" y="16165"/>
                  </a:cubicBezTo>
                  <a:cubicBezTo>
                    <a:pt x="11604" y="16165"/>
                    <a:pt x="11727" y="15817"/>
                    <a:pt x="11881" y="15817"/>
                  </a:cubicBezTo>
                  <a:cubicBezTo>
                    <a:pt x="11897" y="15817"/>
                    <a:pt x="11913" y="15821"/>
                    <a:pt x="11930" y="15829"/>
                  </a:cubicBezTo>
                  <a:cubicBezTo>
                    <a:pt x="12077" y="15927"/>
                    <a:pt x="12300" y="16206"/>
                    <a:pt x="12500" y="16206"/>
                  </a:cubicBezTo>
                  <a:cubicBezTo>
                    <a:pt x="12516" y="16206"/>
                    <a:pt x="12533" y="16205"/>
                    <a:pt x="12549" y="16201"/>
                  </a:cubicBezTo>
                  <a:cubicBezTo>
                    <a:pt x="12725" y="16165"/>
                    <a:pt x="12884" y="15847"/>
                    <a:pt x="13008" y="15670"/>
                  </a:cubicBezTo>
                  <a:cubicBezTo>
                    <a:pt x="13114" y="15529"/>
                    <a:pt x="12867" y="14274"/>
                    <a:pt x="12955" y="14168"/>
                  </a:cubicBezTo>
                  <a:cubicBezTo>
                    <a:pt x="13167" y="13921"/>
                    <a:pt x="13362" y="13762"/>
                    <a:pt x="13521" y="13762"/>
                  </a:cubicBezTo>
                  <a:cubicBezTo>
                    <a:pt x="14046" y="13762"/>
                    <a:pt x="14355" y="12831"/>
                    <a:pt x="14660" y="12831"/>
                  </a:cubicBezTo>
                  <a:cubicBezTo>
                    <a:pt x="14704" y="12831"/>
                    <a:pt x="14748" y="12851"/>
                    <a:pt x="14793" y="12896"/>
                  </a:cubicBezTo>
                  <a:cubicBezTo>
                    <a:pt x="15164" y="13267"/>
                    <a:pt x="14298" y="15388"/>
                    <a:pt x="14298" y="15935"/>
                  </a:cubicBezTo>
                  <a:cubicBezTo>
                    <a:pt x="14298" y="16483"/>
                    <a:pt x="11948" y="18056"/>
                    <a:pt x="11948" y="18569"/>
                  </a:cubicBezTo>
                  <a:cubicBezTo>
                    <a:pt x="11948" y="19064"/>
                    <a:pt x="12390" y="20106"/>
                    <a:pt x="12390" y="20460"/>
                  </a:cubicBezTo>
                  <a:cubicBezTo>
                    <a:pt x="12390" y="20556"/>
                    <a:pt x="12769" y="20587"/>
                    <a:pt x="13327" y="20587"/>
                  </a:cubicBezTo>
                  <a:cubicBezTo>
                    <a:pt x="14296" y="20587"/>
                    <a:pt x="15803" y="20495"/>
                    <a:pt x="16794" y="20495"/>
                  </a:cubicBezTo>
                  <a:cubicBezTo>
                    <a:pt x="17322" y="20495"/>
                    <a:pt x="17704" y="20521"/>
                    <a:pt x="17780" y="20601"/>
                  </a:cubicBezTo>
                  <a:cubicBezTo>
                    <a:pt x="18098" y="20919"/>
                    <a:pt x="16260" y="22245"/>
                    <a:pt x="16048" y="23252"/>
                  </a:cubicBezTo>
                  <a:cubicBezTo>
                    <a:pt x="15818" y="24242"/>
                    <a:pt x="16826" y="24896"/>
                    <a:pt x="16826" y="25532"/>
                  </a:cubicBezTo>
                  <a:cubicBezTo>
                    <a:pt x="16826" y="26168"/>
                    <a:pt x="15694" y="28395"/>
                    <a:pt x="15341" y="28748"/>
                  </a:cubicBezTo>
                  <a:cubicBezTo>
                    <a:pt x="15298" y="28791"/>
                    <a:pt x="15242" y="28810"/>
                    <a:pt x="15175" y="28810"/>
                  </a:cubicBezTo>
                  <a:cubicBezTo>
                    <a:pt x="14663" y="28810"/>
                    <a:pt x="13515" y="27691"/>
                    <a:pt x="12796" y="27582"/>
                  </a:cubicBezTo>
                  <a:cubicBezTo>
                    <a:pt x="12753" y="27575"/>
                    <a:pt x="12707" y="27571"/>
                    <a:pt x="12657" y="27571"/>
                  </a:cubicBezTo>
                  <a:cubicBezTo>
                    <a:pt x="11768" y="27571"/>
                    <a:pt x="9867" y="28726"/>
                    <a:pt x="9315" y="29279"/>
                  </a:cubicBezTo>
                  <a:cubicBezTo>
                    <a:pt x="8731" y="29862"/>
                    <a:pt x="8802" y="30781"/>
                    <a:pt x="9173" y="30781"/>
                  </a:cubicBezTo>
                  <a:cubicBezTo>
                    <a:pt x="9401" y="30781"/>
                    <a:pt x="10002" y="30224"/>
                    <a:pt x="10402" y="30224"/>
                  </a:cubicBezTo>
                  <a:cubicBezTo>
                    <a:pt x="10622" y="30224"/>
                    <a:pt x="10781" y="30394"/>
                    <a:pt x="10781" y="30922"/>
                  </a:cubicBezTo>
                  <a:cubicBezTo>
                    <a:pt x="10781" y="32424"/>
                    <a:pt x="11153" y="32566"/>
                    <a:pt x="10658" y="33078"/>
                  </a:cubicBezTo>
                  <a:cubicBezTo>
                    <a:pt x="10145" y="33591"/>
                    <a:pt x="7653" y="33697"/>
                    <a:pt x="6717" y="33697"/>
                  </a:cubicBezTo>
                  <a:cubicBezTo>
                    <a:pt x="5762" y="33697"/>
                    <a:pt x="5214" y="35464"/>
                    <a:pt x="5214" y="35871"/>
                  </a:cubicBezTo>
                  <a:cubicBezTo>
                    <a:pt x="5214" y="36277"/>
                    <a:pt x="7388" y="36472"/>
                    <a:pt x="8060" y="36472"/>
                  </a:cubicBezTo>
                  <a:cubicBezTo>
                    <a:pt x="8749" y="36472"/>
                    <a:pt x="10887" y="38486"/>
                    <a:pt x="11329" y="38928"/>
                  </a:cubicBezTo>
                  <a:cubicBezTo>
                    <a:pt x="11408" y="39007"/>
                    <a:pt x="11509" y="39038"/>
                    <a:pt x="11626" y="39038"/>
                  </a:cubicBezTo>
                  <a:cubicBezTo>
                    <a:pt x="12072" y="39038"/>
                    <a:pt x="12733" y="38579"/>
                    <a:pt x="13103" y="38579"/>
                  </a:cubicBezTo>
                  <a:cubicBezTo>
                    <a:pt x="13180" y="38579"/>
                    <a:pt x="13244" y="38598"/>
                    <a:pt x="13291" y="38645"/>
                  </a:cubicBezTo>
                  <a:cubicBezTo>
                    <a:pt x="13644" y="38981"/>
                    <a:pt x="12407" y="40413"/>
                    <a:pt x="11736" y="40413"/>
                  </a:cubicBezTo>
                  <a:cubicBezTo>
                    <a:pt x="11064" y="40413"/>
                    <a:pt x="10234" y="39193"/>
                    <a:pt x="9562" y="39193"/>
                  </a:cubicBezTo>
                  <a:cubicBezTo>
                    <a:pt x="8890" y="39193"/>
                    <a:pt x="4437" y="41544"/>
                    <a:pt x="3924" y="42056"/>
                  </a:cubicBezTo>
                  <a:cubicBezTo>
                    <a:pt x="3412" y="42551"/>
                    <a:pt x="1" y="42993"/>
                    <a:pt x="566" y="43559"/>
                  </a:cubicBezTo>
                  <a:cubicBezTo>
                    <a:pt x="708" y="43700"/>
                    <a:pt x="1008" y="43753"/>
                    <a:pt x="1415" y="43771"/>
                  </a:cubicBezTo>
                  <a:cubicBezTo>
                    <a:pt x="1725" y="43771"/>
                    <a:pt x="2356" y="44479"/>
                    <a:pt x="2748" y="44479"/>
                  </a:cubicBezTo>
                  <a:cubicBezTo>
                    <a:pt x="2757" y="44479"/>
                    <a:pt x="2766" y="44478"/>
                    <a:pt x="2775" y="44478"/>
                  </a:cubicBezTo>
                  <a:cubicBezTo>
                    <a:pt x="3942" y="44354"/>
                    <a:pt x="4985" y="43346"/>
                    <a:pt x="5426" y="43346"/>
                  </a:cubicBezTo>
                  <a:cubicBezTo>
                    <a:pt x="6169" y="43346"/>
                    <a:pt x="7600" y="44972"/>
                    <a:pt x="8201" y="44972"/>
                  </a:cubicBezTo>
                  <a:cubicBezTo>
                    <a:pt x="8820" y="44972"/>
                    <a:pt x="9809" y="43187"/>
                    <a:pt x="10499" y="43187"/>
                  </a:cubicBezTo>
                  <a:cubicBezTo>
                    <a:pt x="10781" y="43187"/>
                    <a:pt x="11665" y="43205"/>
                    <a:pt x="11877" y="43452"/>
                  </a:cubicBezTo>
                  <a:cubicBezTo>
                    <a:pt x="12178" y="43806"/>
                    <a:pt x="11983" y="44230"/>
                    <a:pt x="12407" y="44230"/>
                  </a:cubicBezTo>
                  <a:cubicBezTo>
                    <a:pt x="13167" y="44230"/>
                    <a:pt x="21120" y="45644"/>
                    <a:pt x="22057" y="45644"/>
                  </a:cubicBezTo>
                  <a:cubicBezTo>
                    <a:pt x="23011" y="45644"/>
                    <a:pt x="26210" y="44495"/>
                    <a:pt x="26210" y="43947"/>
                  </a:cubicBezTo>
                  <a:cubicBezTo>
                    <a:pt x="26210" y="43417"/>
                    <a:pt x="23824" y="43205"/>
                    <a:pt x="23824" y="42586"/>
                  </a:cubicBezTo>
                  <a:cubicBezTo>
                    <a:pt x="23824" y="41986"/>
                    <a:pt x="26104" y="41809"/>
                    <a:pt x="26616" y="41296"/>
                  </a:cubicBezTo>
                  <a:cubicBezTo>
                    <a:pt x="27129" y="40784"/>
                    <a:pt x="29197" y="38045"/>
                    <a:pt x="29197" y="36949"/>
                  </a:cubicBezTo>
                  <a:cubicBezTo>
                    <a:pt x="29197" y="35871"/>
                    <a:pt x="28242" y="35323"/>
                    <a:pt x="27765" y="34846"/>
                  </a:cubicBezTo>
                  <a:cubicBezTo>
                    <a:pt x="27689" y="34769"/>
                    <a:pt x="27560" y="34738"/>
                    <a:pt x="27397" y="34738"/>
                  </a:cubicBezTo>
                  <a:cubicBezTo>
                    <a:pt x="26681" y="34738"/>
                    <a:pt x="25294" y="35333"/>
                    <a:pt x="24654" y="35333"/>
                  </a:cubicBezTo>
                  <a:cubicBezTo>
                    <a:pt x="24527" y="35333"/>
                    <a:pt x="24429" y="35309"/>
                    <a:pt x="24372" y="35252"/>
                  </a:cubicBezTo>
                  <a:cubicBezTo>
                    <a:pt x="23965" y="34846"/>
                    <a:pt x="25326" y="29827"/>
                    <a:pt x="25326" y="28536"/>
                  </a:cubicBezTo>
                  <a:cubicBezTo>
                    <a:pt x="25326" y="27246"/>
                    <a:pt x="23011" y="23570"/>
                    <a:pt x="23011" y="22757"/>
                  </a:cubicBezTo>
                  <a:cubicBezTo>
                    <a:pt x="23011" y="21944"/>
                    <a:pt x="23859" y="17226"/>
                    <a:pt x="23418" y="16784"/>
                  </a:cubicBezTo>
                  <a:cubicBezTo>
                    <a:pt x="22976" y="16342"/>
                    <a:pt x="20360" y="15847"/>
                    <a:pt x="20360" y="15547"/>
                  </a:cubicBezTo>
                  <a:cubicBezTo>
                    <a:pt x="20360" y="15264"/>
                    <a:pt x="21580" y="12896"/>
                    <a:pt x="21580" y="12896"/>
                  </a:cubicBezTo>
                  <a:cubicBezTo>
                    <a:pt x="22145" y="12790"/>
                    <a:pt x="22693" y="12684"/>
                    <a:pt x="23259" y="12631"/>
                  </a:cubicBezTo>
                  <a:cubicBezTo>
                    <a:pt x="23630" y="12631"/>
                    <a:pt x="26033" y="9149"/>
                    <a:pt x="26033" y="8336"/>
                  </a:cubicBezTo>
                  <a:cubicBezTo>
                    <a:pt x="26033" y="7505"/>
                    <a:pt x="23135" y="6427"/>
                    <a:pt x="22092" y="6145"/>
                  </a:cubicBezTo>
                  <a:cubicBezTo>
                    <a:pt x="21049" y="5879"/>
                    <a:pt x="20731" y="5879"/>
                    <a:pt x="20731" y="5420"/>
                  </a:cubicBezTo>
                  <a:cubicBezTo>
                    <a:pt x="20731" y="4978"/>
                    <a:pt x="23453" y="3882"/>
                    <a:pt x="23806" y="3882"/>
                  </a:cubicBezTo>
                  <a:cubicBezTo>
                    <a:pt x="24178" y="3882"/>
                    <a:pt x="25167" y="2168"/>
                    <a:pt x="25167" y="1709"/>
                  </a:cubicBezTo>
                  <a:cubicBezTo>
                    <a:pt x="25167" y="1249"/>
                    <a:pt x="21721" y="807"/>
                    <a:pt x="21085" y="807"/>
                  </a:cubicBezTo>
                  <a:cubicBezTo>
                    <a:pt x="20543" y="807"/>
                    <a:pt x="19668" y="0"/>
                    <a:pt x="19180"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6" name="Google Shape;558;p24">
              <a:extLst>
                <a:ext uri="{FF2B5EF4-FFF2-40B4-BE49-F238E27FC236}">
                  <a16:creationId xmlns:a16="http://schemas.microsoft.com/office/drawing/2014/main" id="{4A691D29-6A8F-4F7B-9CFE-83DE3384EBA1}"/>
                </a:ext>
              </a:extLst>
            </p:cNvPr>
            <p:cNvSpPr/>
            <p:nvPr/>
          </p:nvSpPr>
          <p:spPr>
            <a:xfrm>
              <a:off x="2142975" y="2147675"/>
              <a:ext cx="79325" cy="47750"/>
            </a:xfrm>
            <a:custGeom>
              <a:avLst/>
              <a:gdLst/>
              <a:ahLst/>
              <a:cxnLst/>
              <a:rect l="l" t="t" r="r" b="b"/>
              <a:pathLst>
                <a:path w="3173" h="1910" extrusionOk="0">
                  <a:moveTo>
                    <a:pt x="2471" y="0"/>
                  </a:moveTo>
                  <a:cubicBezTo>
                    <a:pt x="2408" y="0"/>
                    <a:pt x="2349" y="21"/>
                    <a:pt x="2298" y="72"/>
                  </a:cubicBezTo>
                  <a:cubicBezTo>
                    <a:pt x="1998" y="372"/>
                    <a:pt x="0" y="673"/>
                    <a:pt x="230" y="1026"/>
                  </a:cubicBezTo>
                  <a:cubicBezTo>
                    <a:pt x="230" y="1026"/>
                    <a:pt x="725" y="1910"/>
                    <a:pt x="1185" y="1910"/>
                  </a:cubicBezTo>
                  <a:cubicBezTo>
                    <a:pt x="1626" y="1910"/>
                    <a:pt x="2687" y="514"/>
                    <a:pt x="2952" y="514"/>
                  </a:cubicBezTo>
                  <a:cubicBezTo>
                    <a:pt x="3172" y="514"/>
                    <a:pt x="2782" y="0"/>
                    <a:pt x="2471"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7" name="Google Shape;559;p24">
              <a:extLst>
                <a:ext uri="{FF2B5EF4-FFF2-40B4-BE49-F238E27FC236}">
                  <a16:creationId xmlns:a16="http://schemas.microsoft.com/office/drawing/2014/main" id="{779F3FE0-59B5-4962-8CEB-CB8C6CEF4ACD}"/>
                </a:ext>
              </a:extLst>
            </p:cNvPr>
            <p:cNvSpPr/>
            <p:nvPr/>
          </p:nvSpPr>
          <p:spPr>
            <a:xfrm>
              <a:off x="2183625" y="2396450"/>
              <a:ext cx="73375" cy="43700"/>
            </a:xfrm>
            <a:custGeom>
              <a:avLst/>
              <a:gdLst/>
              <a:ahLst/>
              <a:cxnLst/>
              <a:rect l="l" t="t" r="r" b="b"/>
              <a:pathLst>
                <a:path w="2935" h="1748" extrusionOk="0">
                  <a:moveTo>
                    <a:pt x="2692" y="0"/>
                  </a:moveTo>
                  <a:cubicBezTo>
                    <a:pt x="2404" y="0"/>
                    <a:pt x="1933" y="212"/>
                    <a:pt x="1697" y="212"/>
                  </a:cubicBezTo>
                  <a:cubicBezTo>
                    <a:pt x="1361" y="212"/>
                    <a:pt x="0" y="954"/>
                    <a:pt x="0" y="1273"/>
                  </a:cubicBezTo>
                  <a:cubicBezTo>
                    <a:pt x="0" y="1273"/>
                    <a:pt x="1120" y="1747"/>
                    <a:pt x="1663" y="1747"/>
                  </a:cubicBezTo>
                  <a:cubicBezTo>
                    <a:pt x="1774" y="1747"/>
                    <a:pt x="1861" y="1727"/>
                    <a:pt x="1909" y="1679"/>
                  </a:cubicBezTo>
                  <a:cubicBezTo>
                    <a:pt x="2192" y="1379"/>
                    <a:pt x="2934" y="689"/>
                    <a:pt x="2934" y="212"/>
                  </a:cubicBezTo>
                  <a:cubicBezTo>
                    <a:pt x="2934" y="53"/>
                    <a:pt x="2836" y="0"/>
                    <a:pt x="2692"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8" name="Google Shape;560;p24">
              <a:extLst>
                <a:ext uri="{FF2B5EF4-FFF2-40B4-BE49-F238E27FC236}">
                  <a16:creationId xmlns:a16="http://schemas.microsoft.com/office/drawing/2014/main" id="{18B0E7D1-5C1B-45FD-BF10-8900E9B93D12}"/>
                </a:ext>
              </a:extLst>
            </p:cNvPr>
            <p:cNvSpPr/>
            <p:nvPr/>
          </p:nvSpPr>
          <p:spPr>
            <a:xfrm>
              <a:off x="2681675" y="1634875"/>
              <a:ext cx="98000" cy="129150"/>
            </a:xfrm>
            <a:custGeom>
              <a:avLst/>
              <a:gdLst/>
              <a:ahLst/>
              <a:cxnLst/>
              <a:rect l="l" t="t" r="r" b="b"/>
              <a:pathLst>
                <a:path w="3920" h="5166" extrusionOk="0">
                  <a:moveTo>
                    <a:pt x="3585" y="1"/>
                  </a:moveTo>
                  <a:cubicBezTo>
                    <a:pt x="3073" y="1"/>
                    <a:pt x="1135" y="1012"/>
                    <a:pt x="844" y="1302"/>
                  </a:cubicBezTo>
                  <a:cubicBezTo>
                    <a:pt x="526" y="1621"/>
                    <a:pt x="544" y="2981"/>
                    <a:pt x="544" y="3317"/>
                  </a:cubicBezTo>
                  <a:cubicBezTo>
                    <a:pt x="544" y="3653"/>
                    <a:pt x="120" y="4802"/>
                    <a:pt x="120" y="4802"/>
                  </a:cubicBezTo>
                  <a:cubicBezTo>
                    <a:pt x="1" y="4921"/>
                    <a:pt x="659" y="5166"/>
                    <a:pt x="1134" y="5166"/>
                  </a:cubicBezTo>
                  <a:cubicBezTo>
                    <a:pt x="1223" y="5166"/>
                    <a:pt x="1305" y="5157"/>
                    <a:pt x="1374" y="5138"/>
                  </a:cubicBezTo>
                  <a:cubicBezTo>
                    <a:pt x="1799" y="4996"/>
                    <a:pt x="2382" y="4201"/>
                    <a:pt x="2470" y="3777"/>
                  </a:cubicBezTo>
                  <a:cubicBezTo>
                    <a:pt x="2559" y="3335"/>
                    <a:pt x="3248" y="1992"/>
                    <a:pt x="3495" y="1727"/>
                  </a:cubicBezTo>
                  <a:cubicBezTo>
                    <a:pt x="3743" y="1479"/>
                    <a:pt x="3919" y="260"/>
                    <a:pt x="3690" y="30"/>
                  </a:cubicBezTo>
                  <a:cubicBezTo>
                    <a:pt x="3670" y="10"/>
                    <a:pt x="3634" y="1"/>
                    <a:pt x="358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59" name="Google Shape;561;p24">
              <a:extLst>
                <a:ext uri="{FF2B5EF4-FFF2-40B4-BE49-F238E27FC236}">
                  <a16:creationId xmlns:a16="http://schemas.microsoft.com/office/drawing/2014/main" id="{C3DD311F-0AFB-4795-8AEC-7EC01EC849B8}"/>
                </a:ext>
              </a:extLst>
            </p:cNvPr>
            <p:cNvSpPr/>
            <p:nvPr/>
          </p:nvSpPr>
          <p:spPr>
            <a:xfrm>
              <a:off x="1664025" y="2183050"/>
              <a:ext cx="427275" cy="459300"/>
            </a:xfrm>
            <a:custGeom>
              <a:avLst/>
              <a:gdLst/>
              <a:ahLst/>
              <a:cxnLst/>
              <a:rect l="l" t="t" r="r" b="b"/>
              <a:pathLst>
                <a:path w="17091" h="18372" extrusionOk="0">
                  <a:moveTo>
                    <a:pt x="15924" y="0"/>
                  </a:moveTo>
                  <a:cubicBezTo>
                    <a:pt x="15235" y="0"/>
                    <a:pt x="12513" y="124"/>
                    <a:pt x="12160" y="495"/>
                  </a:cubicBezTo>
                  <a:cubicBezTo>
                    <a:pt x="11806" y="848"/>
                    <a:pt x="10852" y="2174"/>
                    <a:pt x="10852" y="2580"/>
                  </a:cubicBezTo>
                  <a:cubicBezTo>
                    <a:pt x="10852" y="2987"/>
                    <a:pt x="11276" y="3464"/>
                    <a:pt x="10887" y="3853"/>
                  </a:cubicBezTo>
                  <a:cubicBezTo>
                    <a:pt x="10856" y="3884"/>
                    <a:pt x="10802" y="3898"/>
                    <a:pt x="10729" y="3898"/>
                  </a:cubicBezTo>
                  <a:cubicBezTo>
                    <a:pt x="9992" y="3898"/>
                    <a:pt x="7320" y="2486"/>
                    <a:pt x="6601" y="2486"/>
                  </a:cubicBezTo>
                  <a:cubicBezTo>
                    <a:pt x="6532" y="2486"/>
                    <a:pt x="6481" y="2499"/>
                    <a:pt x="6452" y="2527"/>
                  </a:cubicBezTo>
                  <a:cubicBezTo>
                    <a:pt x="6098" y="2863"/>
                    <a:pt x="5073" y="4312"/>
                    <a:pt x="5373" y="4613"/>
                  </a:cubicBezTo>
                  <a:cubicBezTo>
                    <a:pt x="5656" y="4895"/>
                    <a:pt x="6505" y="5373"/>
                    <a:pt x="5939" y="5938"/>
                  </a:cubicBezTo>
                  <a:cubicBezTo>
                    <a:pt x="5373" y="6486"/>
                    <a:pt x="3871" y="6946"/>
                    <a:pt x="3871" y="7352"/>
                  </a:cubicBezTo>
                  <a:cubicBezTo>
                    <a:pt x="3871" y="7759"/>
                    <a:pt x="5586" y="9084"/>
                    <a:pt x="5586" y="9526"/>
                  </a:cubicBezTo>
                  <a:cubicBezTo>
                    <a:pt x="5586" y="9985"/>
                    <a:pt x="2369" y="11293"/>
                    <a:pt x="1963" y="11700"/>
                  </a:cubicBezTo>
                  <a:cubicBezTo>
                    <a:pt x="1556" y="12106"/>
                    <a:pt x="1468" y="13255"/>
                    <a:pt x="831" y="13432"/>
                  </a:cubicBezTo>
                  <a:cubicBezTo>
                    <a:pt x="195" y="13608"/>
                    <a:pt x="1" y="14174"/>
                    <a:pt x="266" y="14987"/>
                  </a:cubicBezTo>
                  <a:cubicBezTo>
                    <a:pt x="549" y="15800"/>
                    <a:pt x="761" y="17461"/>
                    <a:pt x="1326" y="18027"/>
                  </a:cubicBezTo>
                  <a:cubicBezTo>
                    <a:pt x="1469" y="18165"/>
                    <a:pt x="1878" y="18220"/>
                    <a:pt x="2426" y="18220"/>
                  </a:cubicBezTo>
                  <a:cubicBezTo>
                    <a:pt x="4118" y="18220"/>
                    <a:pt x="7137" y="17697"/>
                    <a:pt x="7724" y="17496"/>
                  </a:cubicBezTo>
                  <a:cubicBezTo>
                    <a:pt x="8200" y="17319"/>
                    <a:pt x="9362" y="17135"/>
                    <a:pt x="10277" y="17135"/>
                  </a:cubicBezTo>
                  <a:cubicBezTo>
                    <a:pt x="10823" y="17135"/>
                    <a:pt x="11281" y="17201"/>
                    <a:pt x="11453" y="17373"/>
                  </a:cubicBezTo>
                  <a:cubicBezTo>
                    <a:pt x="11612" y="17532"/>
                    <a:pt x="12054" y="18097"/>
                    <a:pt x="12266" y="18239"/>
                  </a:cubicBezTo>
                  <a:cubicBezTo>
                    <a:pt x="12420" y="18329"/>
                    <a:pt x="12590" y="18372"/>
                    <a:pt x="12745" y="18372"/>
                  </a:cubicBezTo>
                  <a:cubicBezTo>
                    <a:pt x="13016" y="18372"/>
                    <a:pt x="13238" y="18239"/>
                    <a:pt x="13238" y="17991"/>
                  </a:cubicBezTo>
                  <a:cubicBezTo>
                    <a:pt x="13309" y="17691"/>
                    <a:pt x="13432" y="17390"/>
                    <a:pt x="13591" y="17143"/>
                  </a:cubicBezTo>
                  <a:cubicBezTo>
                    <a:pt x="14139" y="16189"/>
                    <a:pt x="15376" y="14616"/>
                    <a:pt x="15553" y="13891"/>
                  </a:cubicBezTo>
                  <a:cubicBezTo>
                    <a:pt x="15748" y="13131"/>
                    <a:pt x="15854" y="9915"/>
                    <a:pt x="16401" y="8819"/>
                  </a:cubicBezTo>
                  <a:cubicBezTo>
                    <a:pt x="16525" y="8642"/>
                    <a:pt x="16684" y="8483"/>
                    <a:pt x="16861" y="8377"/>
                  </a:cubicBezTo>
                  <a:cubicBezTo>
                    <a:pt x="16507" y="8059"/>
                    <a:pt x="16136" y="7741"/>
                    <a:pt x="16048" y="7652"/>
                  </a:cubicBezTo>
                  <a:cubicBezTo>
                    <a:pt x="15995" y="7599"/>
                    <a:pt x="15907" y="7317"/>
                    <a:pt x="15942" y="5938"/>
                  </a:cubicBezTo>
                  <a:lnTo>
                    <a:pt x="15942" y="5797"/>
                  </a:lnTo>
                  <a:cubicBezTo>
                    <a:pt x="15942" y="5726"/>
                    <a:pt x="15907" y="5673"/>
                    <a:pt x="15854" y="5620"/>
                  </a:cubicBezTo>
                  <a:cubicBezTo>
                    <a:pt x="15808" y="5575"/>
                    <a:pt x="15685" y="5562"/>
                    <a:pt x="15556" y="5562"/>
                  </a:cubicBezTo>
                  <a:cubicBezTo>
                    <a:pt x="15384" y="5562"/>
                    <a:pt x="15202" y="5585"/>
                    <a:pt x="15182" y="5585"/>
                  </a:cubicBezTo>
                  <a:cubicBezTo>
                    <a:pt x="15023" y="5585"/>
                    <a:pt x="14952" y="5779"/>
                    <a:pt x="14882" y="6044"/>
                  </a:cubicBezTo>
                  <a:cubicBezTo>
                    <a:pt x="14846" y="6168"/>
                    <a:pt x="14740" y="6504"/>
                    <a:pt x="14669" y="6504"/>
                  </a:cubicBezTo>
                  <a:cubicBezTo>
                    <a:pt x="14493" y="6521"/>
                    <a:pt x="14316" y="6557"/>
                    <a:pt x="14157" y="6627"/>
                  </a:cubicBezTo>
                  <a:cubicBezTo>
                    <a:pt x="13980" y="6680"/>
                    <a:pt x="13804" y="6733"/>
                    <a:pt x="13609" y="6751"/>
                  </a:cubicBezTo>
                  <a:cubicBezTo>
                    <a:pt x="13362" y="6680"/>
                    <a:pt x="12390" y="4613"/>
                    <a:pt x="12390" y="4312"/>
                  </a:cubicBezTo>
                  <a:cubicBezTo>
                    <a:pt x="12496" y="4118"/>
                    <a:pt x="14210" y="3658"/>
                    <a:pt x="14563" y="3658"/>
                  </a:cubicBezTo>
                  <a:cubicBezTo>
                    <a:pt x="14793" y="3658"/>
                    <a:pt x="15076" y="3234"/>
                    <a:pt x="15588" y="2368"/>
                  </a:cubicBezTo>
                  <a:cubicBezTo>
                    <a:pt x="15642" y="2227"/>
                    <a:pt x="15659" y="2068"/>
                    <a:pt x="15624" y="1926"/>
                  </a:cubicBezTo>
                  <a:cubicBezTo>
                    <a:pt x="15624" y="1909"/>
                    <a:pt x="15606" y="1891"/>
                    <a:pt x="15624" y="1891"/>
                  </a:cubicBezTo>
                  <a:cubicBezTo>
                    <a:pt x="15606" y="1820"/>
                    <a:pt x="15606" y="1732"/>
                    <a:pt x="15624" y="1661"/>
                  </a:cubicBezTo>
                  <a:cubicBezTo>
                    <a:pt x="15695" y="1591"/>
                    <a:pt x="16437" y="1308"/>
                    <a:pt x="17091" y="919"/>
                  </a:cubicBezTo>
                  <a:cubicBezTo>
                    <a:pt x="16667" y="477"/>
                    <a:pt x="16295" y="0"/>
                    <a:pt x="15924"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0" name="Google Shape;562;p24">
              <a:extLst>
                <a:ext uri="{FF2B5EF4-FFF2-40B4-BE49-F238E27FC236}">
                  <a16:creationId xmlns:a16="http://schemas.microsoft.com/office/drawing/2014/main" id="{A70742B3-CDB3-4513-883E-F663A46701D0}"/>
                </a:ext>
              </a:extLst>
            </p:cNvPr>
            <p:cNvSpPr/>
            <p:nvPr/>
          </p:nvSpPr>
          <p:spPr>
            <a:xfrm>
              <a:off x="1973750" y="2206900"/>
              <a:ext cx="189575" cy="185600"/>
            </a:xfrm>
            <a:custGeom>
              <a:avLst/>
              <a:gdLst/>
              <a:ahLst/>
              <a:cxnLst/>
              <a:rect l="l" t="t" r="r" b="b"/>
              <a:pathLst>
                <a:path w="7583" h="7424" extrusionOk="0">
                  <a:moveTo>
                    <a:pt x="4719" y="0"/>
                  </a:moveTo>
                  <a:cubicBezTo>
                    <a:pt x="4048" y="389"/>
                    <a:pt x="3323" y="672"/>
                    <a:pt x="3235" y="743"/>
                  </a:cubicBezTo>
                  <a:cubicBezTo>
                    <a:pt x="3235" y="813"/>
                    <a:pt x="3235" y="884"/>
                    <a:pt x="3235" y="937"/>
                  </a:cubicBezTo>
                  <a:lnTo>
                    <a:pt x="3235" y="990"/>
                  </a:lnTo>
                  <a:cubicBezTo>
                    <a:pt x="3270" y="1131"/>
                    <a:pt x="3253" y="1273"/>
                    <a:pt x="3199" y="1414"/>
                  </a:cubicBezTo>
                  <a:cubicBezTo>
                    <a:pt x="2687" y="2298"/>
                    <a:pt x="2404" y="2704"/>
                    <a:pt x="2174" y="2704"/>
                  </a:cubicBezTo>
                  <a:cubicBezTo>
                    <a:pt x="1821" y="2704"/>
                    <a:pt x="124" y="3164"/>
                    <a:pt x="1" y="3376"/>
                  </a:cubicBezTo>
                  <a:cubicBezTo>
                    <a:pt x="1" y="3659"/>
                    <a:pt x="973" y="5726"/>
                    <a:pt x="1238" y="5797"/>
                  </a:cubicBezTo>
                  <a:cubicBezTo>
                    <a:pt x="1415" y="5779"/>
                    <a:pt x="1591" y="5744"/>
                    <a:pt x="1768" y="5673"/>
                  </a:cubicBezTo>
                  <a:cubicBezTo>
                    <a:pt x="1927" y="5620"/>
                    <a:pt x="2104" y="5567"/>
                    <a:pt x="2280" y="5567"/>
                  </a:cubicBezTo>
                  <a:cubicBezTo>
                    <a:pt x="2351" y="5567"/>
                    <a:pt x="2457" y="5232"/>
                    <a:pt x="2493" y="5108"/>
                  </a:cubicBezTo>
                  <a:cubicBezTo>
                    <a:pt x="2581" y="4843"/>
                    <a:pt x="2634" y="4648"/>
                    <a:pt x="2793" y="4648"/>
                  </a:cubicBezTo>
                  <a:cubicBezTo>
                    <a:pt x="2813" y="4648"/>
                    <a:pt x="2995" y="4625"/>
                    <a:pt x="3167" y="4625"/>
                  </a:cubicBezTo>
                  <a:cubicBezTo>
                    <a:pt x="3296" y="4625"/>
                    <a:pt x="3419" y="4638"/>
                    <a:pt x="3465" y="4684"/>
                  </a:cubicBezTo>
                  <a:cubicBezTo>
                    <a:pt x="3518" y="4719"/>
                    <a:pt x="3553" y="4790"/>
                    <a:pt x="3553" y="4860"/>
                  </a:cubicBezTo>
                  <a:lnTo>
                    <a:pt x="3553" y="5002"/>
                  </a:lnTo>
                  <a:cubicBezTo>
                    <a:pt x="3535" y="6363"/>
                    <a:pt x="3606" y="6663"/>
                    <a:pt x="3659" y="6716"/>
                  </a:cubicBezTo>
                  <a:cubicBezTo>
                    <a:pt x="3747" y="6805"/>
                    <a:pt x="4118" y="7123"/>
                    <a:pt x="4490" y="7423"/>
                  </a:cubicBezTo>
                  <a:cubicBezTo>
                    <a:pt x="5161" y="7229"/>
                    <a:pt x="7582" y="4931"/>
                    <a:pt x="7582" y="4454"/>
                  </a:cubicBezTo>
                  <a:cubicBezTo>
                    <a:pt x="7582" y="3977"/>
                    <a:pt x="6752" y="707"/>
                    <a:pt x="5850" y="707"/>
                  </a:cubicBezTo>
                  <a:cubicBezTo>
                    <a:pt x="5497" y="707"/>
                    <a:pt x="5020" y="301"/>
                    <a:pt x="4719"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1" name="Google Shape;563;p24">
              <a:extLst>
                <a:ext uri="{FF2B5EF4-FFF2-40B4-BE49-F238E27FC236}">
                  <a16:creationId xmlns:a16="http://schemas.microsoft.com/office/drawing/2014/main" id="{2FD4D3F4-867E-42FC-97D7-D6BB345965ED}"/>
                </a:ext>
              </a:extLst>
            </p:cNvPr>
            <p:cNvSpPr/>
            <p:nvPr/>
          </p:nvSpPr>
          <p:spPr>
            <a:xfrm>
              <a:off x="2179200" y="2065950"/>
              <a:ext cx="40225" cy="49500"/>
            </a:xfrm>
            <a:custGeom>
              <a:avLst/>
              <a:gdLst/>
              <a:ahLst/>
              <a:cxnLst/>
              <a:rect l="l" t="t" r="r" b="b"/>
              <a:pathLst>
                <a:path w="1609" h="1980" extrusionOk="0">
                  <a:moveTo>
                    <a:pt x="867" y="1"/>
                  </a:moveTo>
                  <a:cubicBezTo>
                    <a:pt x="708" y="177"/>
                    <a:pt x="849" y="814"/>
                    <a:pt x="672" y="990"/>
                  </a:cubicBezTo>
                  <a:cubicBezTo>
                    <a:pt x="495" y="1167"/>
                    <a:pt x="1" y="1414"/>
                    <a:pt x="1" y="1591"/>
                  </a:cubicBezTo>
                  <a:cubicBezTo>
                    <a:pt x="1" y="1737"/>
                    <a:pt x="266" y="1980"/>
                    <a:pt x="578" y="1980"/>
                  </a:cubicBezTo>
                  <a:cubicBezTo>
                    <a:pt x="643" y="1980"/>
                    <a:pt x="711" y="1969"/>
                    <a:pt x="778" y="1945"/>
                  </a:cubicBezTo>
                  <a:cubicBezTo>
                    <a:pt x="1167" y="1821"/>
                    <a:pt x="1414" y="1132"/>
                    <a:pt x="1521" y="849"/>
                  </a:cubicBezTo>
                  <a:cubicBezTo>
                    <a:pt x="1609" y="549"/>
                    <a:pt x="867" y="1"/>
                    <a:pt x="867"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2" name="Google Shape;564;p24">
              <a:extLst>
                <a:ext uri="{FF2B5EF4-FFF2-40B4-BE49-F238E27FC236}">
                  <a16:creationId xmlns:a16="http://schemas.microsoft.com/office/drawing/2014/main" id="{C1C03751-3E55-4F5E-B2DC-0CBE4B294596}"/>
                </a:ext>
              </a:extLst>
            </p:cNvPr>
            <p:cNvSpPr/>
            <p:nvPr/>
          </p:nvSpPr>
          <p:spPr>
            <a:xfrm>
              <a:off x="3734875" y="3974200"/>
              <a:ext cx="346425" cy="359675"/>
            </a:xfrm>
            <a:custGeom>
              <a:avLst/>
              <a:gdLst/>
              <a:ahLst/>
              <a:cxnLst/>
              <a:rect l="l" t="t" r="r" b="b"/>
              <a:pathLst>
                <a:path w="13857" h="14387" extrusionOk="0">
                  <a:moveTo>
                    <a:pt x="4224" y="1"/>
                  </a:moveTo>
                  <a:cubicBezTo>
                    <a:pt x="3694" y="1"/>
                    <a:pt x="2263" y="425"/>
                    <a:pt x="1998" y="672"/>
                  </a:cubicBezTo>
                  <a:cubicBezTo>
                    <a:pt x="1990" y="677"/>
                    <a:pt x="1966" y="679"/>
                    <a:pt x="1930" y="679"/>
                  </a:cubicBezTo>
                  <a:cubicBezTo>
                    <a:pt x="1621" y="679"/>
                    <a:pt x="392" y="519"/>
                    <a:pt x="75" y="519"/>
                  </a:cubicBezTo>
                  <a:cubicBezTo>
                    <a:pt x="28" y="519"/>
                    <a:pt x="1" y="523"/>
                    <a:pt x="1" y="531"/>
                  </a:cubicBezTo>
                  <a:cubicBezTo>
                    <a:pt x="1" y="831"/>
                    <a:pt x="1627" y="5020"/>
                    <a:pt x="1644" y="5126"/>
                  </a:cubicBezTo>
                  <a:cubicBezTo>
                    <a:pt x="1644" y="5232"/>
                    <a:pt x="1768" y="5550"/>
                    <a:pt x="3235" y="7123"/>
                  </a:cubicBezTo>
                  <a:cubicBezTo>
                    <a:pt x="4242" y="8201"/>
                    <a:pt x="6045" y="10145"/>
                    <a:pt x="6098" y="10393"/>
                  </a:cubicBezTo>
                  <a:cubicBezTo>
                    <a:pt x="6098" y="10552"/>
                    <a:pt x="5939" y="11276"/>
                    <a:pt x="5886" y="11789"/>
                  </a:cubicBezTo>
                  <a:cubicBezTo>
                    <a:pt x="6716" y="12460"/>
                    <a:pt x="7953" y="13432"/>
                    <a:pt x="9120" y="14387"/>
                  </a:cubicBezTo>
                  <a:cubicBezTo>
                    <a:pt x="9579" y="13856"/>
                    <a:pt x="10074" y="13309"/>
                    <a:pt x="10569" y="12761"/>
                  </a:cubicBezTo>
                  <a:cubicBezTo>
                    <a:pt x="11700" y="11453"/>
                    <a:pt x="12778" y="10180"/>
                    <a:pt x="13308" y="9456"/>
                  </a:cubicBezTo>
                  <a:cubicBezTo>
                    <a:pt x="13803" y="8767"/>
                    <a:pt x="13414" y="7494"/>
                    <a:pt x="13538" y="6999"/>
                  </a:cubicBezTo>
                  <a:cubicBezTo>
                    <a:pt x="13627" y="6593"/>
                    <a:pt x="13856" y="6487"/>
                    <a:pt x="13856" y="6381"/>
                  </a:cubicBezTo>
                  <a:cubicBezTo>
                    <a:pt x="13856" y="6133"/>
                    <a:pt x="13803" y="6186"/>
                    <a:pt x="13202" y="5868"/>
                  </a:cubicBezTo>
                  <a:cubicBezTo>
                    <a:pt x="12902" y="5709"/>
                    <a:pt x="12584" y="5515"/>
                    <a:pt x="12301" y="5303"/>
                  </a:cubicBezTo>
                  <a:cubicBezTo>
                    <a:pt x="12213" y="5144"/>
                    <a:pt x="12336" y="4384"/>
                    <a:pt x="12619" y="3836"/>
                  </a:cubicBezTo>
                  <a:cubicBezTo>
                    <a:pt x="12937" y="3235"/>
                    <a:pt x="13291" y="2705"/>
                    <a:pt x="13255" y="2563"/>
                  </a:cubicBezTo>
                  <a:cubicBezTo>
                    <a:pt x="13220" y="2422"/>
                    <a:pt x="13008" y="2086"/>
                    <a:pt x="12372" y="2016"/>
                  </a:cubicBezTo>
                  <a:cubicBezTo>
                    <a:pt x="12036" y="2016"/>
                    <a:pt x="11682" y="2016"/>
                    <a:pt x="11347" y="2051"/>
                  </a:cubicBezTo>
                  <a:cubicBezTo>
                    <a:pt x="11099" y="2051"/>
                    <a:pt x="10233" y="725"/>
                    <a:pt x="10004" y="725"/>
                  </a:cubicBezTo>
                  <a:cubicBezTo>
                    <a:pt x="9809" y="725"/>
                    <a:pt x="8625" y="531"/>
                    <a:pt x="7423" y="372"/>
                  </a:cubicBezTo>
                  <a:cubicBezTo>
                    <a:pt x="5921" y="178"/>
                    <a:pt x="4525" y="1"/>
                    <a:pt x="4224"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3" name="Google Shape;565;p24">
              <a:extLst>
                <a:ext uri="{FF2B5EF4-FFF2-40B4-BE49-F238E27FC236}">
                  <a16:creationId xmlns:a16="http://schemas.microsoft.com/office/drawing/2014/main" id="{55CE3319-4A9E-49B8-A2BE-E986E2454F45}"/>
                </a:ext>
              </a:extLst>
            </p:cNvPr>
            <p:cNvSpPr/>
            <p:nvPr/>
          </p:nvSpPr>
          <p:spPr>
            <a:xfrm>
              <a:off x="3519700" y="3793050"/>
              <a:ext cx="572200" cy="475450"/>
            </a:xfrm>
            <a:custGeom>
              <a:avLst/>
              <a:gdLst/>
              <a:ahLst/>
              <a:cxnLst/>
              <a:rect l="l" t="t" r="r" b="b"/>
              <a:pathLst>
                <a:path w="22888" h="19018" extrusionOk="0">
                  <a:moveTo>
                    <a:pt x="11753" y="1"/>
                  </a:moveTo>
                  <a:cubicBezTo>
                    <a:pt x="11753" y="248"/>
                    <a:pt x="11771" y="708"/>
                    <a:pt x="11329" y="973"/>
                  </a:cubicBezTo>
                  <a:cubicBezTo>
                    <a:pt x="10074" y="1733"/>
                    <a:pt x="9244" y="2228"/>
                    <a:pt x="9244" y="2546"/>
                  </a:cubicBezTo>
                  <a:cubicBezTo>
                    <a:pt x="9244" y="3111"/>
                    <a:pt x="9279" y="4189"/>
                    <a:pt x="9138" y="4331"/>
                  </a:cubicBezTo>
                  <a:cubicBezTo>
                    <a:pt x="8961" y="4419"/>
                    <a:pt x="5762" y="4560"/>
                    <a:pt x="4048" y="4720"/>
                  </a:cubicBezTo>
                  <a:cubicBezTo>
                    <a:pt x="1927" y="4949"/>
                    <a:pt x="708" y="4843"/>
                    <a:pt x="1" y="4949"/>
                  </a:cubicBezTo>
                  <a:cubicBezTo>
                    <a:pt x="1" y="5550"/>
                    <a:pt x="319" y="6982"/>
                    <a:pt x="549" y="7211"/>
                  </a:cubicBezTo>
                  <a:cubicBezTo>
                    <a:pt x="831" y="7512"/>
                    <a:pt x="1397" y="8449"/>
                    <a:pt x="1697" y="8449"/>
                  </a:cubicBezTo>
                  <a:cubicBezTo>
                    <a:pt x="2016" y="8449"/>
                    <a:pt x="2369" y="7105"/>
                    <a:pt x="2581" y="6876"/>
                  </a:cubicBezTo>
                  <a:cubicBezTo>
                    <a:pt x="2630" y="6830"/>
                    <a:pt x="2735" y="6810"/>
                    <a:pt x="2872" y="6810"/>
                  </a:cubicBezTo>
                  <a:cubicBezTo>
                    <a:pt x="3376" y="6810"/>
                    <a:pt x="4326" y="7083"/>
                    <a:pt x="4631" y="7388"/>
                  </a:cubicBezTo>
                  <a:cubicBezTo>
                    <a:pt x="5020" y="7777"/>
                    <a:pt x="5038" y="9155"/>
                    <a:pt x="5038" y="9456"/>
                  </a:cubicBezTo>
                  <a:cubicBezTo>
                    <a:pt x="5038" y="9756"/>
                    <a:pt x="5957" y="10711"/>
                    <a:pt x="6222" y="10993"/>
                  </a:cubicBezTo>
                  <a:cubicBezTo>
                    <a:pt x="6504" y="11259"/>
                    <a:pt x="5904" y="11789"/>
                    <a:pt x="5745" y="11948"/>
                  </a:cubicBezTo>
                  <a:cubicBezTo>
                    <a:pt x="5585" y="12089"/>
                    <a:pt x="7317" y="13910"/>
                    <a:pt x="7759" y="14351"/>
                  </a:cubicBezTo>
                  <a:cubicBezTo>
                    <a:pt x="8201" y="14793"/>
                    <a:pt x="8413" y="15624"/>
                    <a:pt x="8678" y="15889"/>
                  </a:cubicBezTo>
                  <a:cubicBezTo>
                    <a:pt x="8895" y="16105"/>
                    <a:pt x="9531" y="16119"/>
                    <a:pt x="10101" y="16119"/>
                  </a:cubicBezTo>
                  <a:cubicBezTo>
                    <a:pt x="10182" y="16119"/>
                    <a:pt x="10262" y="16119"/>
                    <a:pt x="10340" y="16119"/>
                  </a:cubicBezTo>
                  <a:cubicBezTo>
                    <a:pt x="10940" y="16119"/>
                    <a:pt x="12867" y="17533"/>
                    <a:pt x="13556" y="18222"/>
                  </a:cubicBezTo>
                  <a:cubicBezTo>
                    <a:pt x="13680" y="18345"/>
                    <a:pt x="14139" y="18717"/>
                    <a:pt x="14493" y="19017"/>
                  </a:cubicBezTo>
                  <a:cubicBezTo>
                    <a:pt x="14546" y="18522"/>
                    <a:pt x="14705" y="17798"/>
                    <a:pt x="14705" y="17621"/>
                  </a:cubicBezTo>
                  <a:cubicBezTo>
                    <a:pt x="14652" y="17391"/>
                    <a:pt x="12849" y="15465"/>
                    <a:pt x="11842" y="14351"/>
                  </a:cubicBezTo>
                  <a:cubicBezTo>
                    <a:pt x="10357" y="12778"/>
                    <a:pt x="10234" y="12478"/>
                    <a:pt x="10234" y="12372"/>
                  </a:cubicBezTo>
                  <a:cubicBezTo>
                    <a:pt x="10234" y="12248"/>
                    <a:pt x="8590" y="8060"/>
                    <a:pt x="8590" y="7777"/>
                  </a:cubicBezTo>
                  <a:cubicBezTo>
                    <a:pt x="8590" y="7765"/>
                    <a:pt x="8626" y="7760"/>
                    <a:pt x="8689" y="7760"/>
                  </a:cubicBezTo>
                  <a:cubicBezTo>
                    <a:pt x="9043" y="7760"/>
                    <a:pt x="10248" y="7925"/>
                    <a:pt x="10542" y="7925"/>
                  </a:cubicBezTo>
                  <a:cubicBezTo>
                    <a:pt x="10575" y="7925"/>
                    <a:pt x="10597" y="7923"/>
                    <a:pt x="10605" y="7918"/>
                  </a:cubicBezTo>
                  <a:cubicBezTo>
                    <a:pt x="10852" y="7653"/>
                    <a:pt x="12284" y="7229"/>
                    <a:pt x="12831" y="7229"/>
                  </a:cubicBezTo>
                  <a:cubicBezTo>
                    <a:pt x="13132" y="7229"/>
                    <a:pt x="14510" y="7424"/>
                    <a:pt x="16013" y="7618"/>
                  </a:cubicBezTo>
                  <a:cubicBezTo>
                    <a:pt x="17214" y="7777"/>
                    <a:pt x="18416" y="7954"/>
                    <a:pt x="18593" y="7954"/>
                  </a:cubicBezTo>
                  <a:cubicBezTo>
                    <a:pt x="18840" y="7954"/>
                    <a:pt x="19706" y="9279"/>
                    <a:pt x="19936" y="9279"/>
                  </a:cubicBezTo>
                  <a:cubicBezTo>
                    <a:pt x="20186" y="9267"/>
                    <a:pt x="20427" y="9254"/>
                    <a:pt x="20672" y="9254"/>
                  </a:cubicBezTo>
                  <a:cubicBezTo>
                    <a:pt x="20773" y="9254"/>
                    <a:pt x="20875" y="9256"/>
                    <a:pt x="20979" y="9262"/>
                  </a:cubicBezTo>
                  <a:cubicBezTo>
                    <a:pt x="21014" y="9032"/>
                    <a:pt x="21191" y="8413"/>
                    <a:pt x="21191" y="8254"/>
                  </a:cubicBezTo>
                  <a:cubicBezTo>
                    <a:pt x="21421" y="8113"/>
                    <a:pt x="21668" y="8007"/>
                    <a:pt x="21915" y="7918"/>
                  </a:cubicBezTo>
                  <a:cubicBezTo>
                    <a:pt x="22534" y="7689"/>
                    <a:pt x="22887" y="7530"/>
                    <a:pt x="22887" y="7335"/>
                  </a:cubicBezTo>
                  <a:cubicBezTo>
                    <a:pt x="22887" y="7123"/>
                    <a:pt x="22587" y="7035"/>
                    <a:pt x="22234" y="6946"/>
                  </a:cubicBezTo>
                  <a:cubicBezTo>
                    <a:pt x="22004" y="6911"/>
                    <a:pt x="21792" y="6840"/>
                    <a:pt x="21580" y="6699"/>
                  </a:cubicBezTo>
                  <a:cubicBezTo>
                    <a:pt x="21403" y="6522"/>
                    <a:pt x="20802" y="4932"/>
                    <a:pt x="20396" y="3836"/>
                  </a:cubicBezTo>
                  <a:cubicBezTo>
                    <a:pt x="19530" y="3977"/>
                    <a:pt x="18911" y="4083"/>
                    <a:pt x="18805" y="4083"/>
                  </a:cubicBezTo>
                  <a:cubicBezTo>
                    <a:pt x="18381" y="4083"/>
                    <a:pt x="13733" y="2334"/>
                    <a:pt x="13556" y="2192"/>
                  </a:cubicBezTo>
                  <a:cubicBezTo>
                    <a:pt x="13432" y="2069"/>
                    <a:pt x="11895" y="372"/>
                    <a:pt x="11753"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4" name="Google Shape;566;p24">
              <a:extLst>
                <a:ext uri="{FF2B5EF4-FFF2-40B4-BE49-F238E27FC236}">
                  <a16:creationId xmlns:a16="http://schemas.microsoft.com/office/drawing/2014/main" id="{9D3692FE-5CE9-4604-A21F-222344251AF6}"/>
                </a:ext>
              </a:extLst>
            </p:cNvPr>
            <p:cNvSpPr/>
            <p:nvPr/>
          </p:nvSpPr>
          <p:spPr>
            <a:xfrm>
              <a:off x="4168750" y="3548725"/>
              <a:ext cx="906225" cy="618150"/>
            </a:xfrm>
            <a:custGeom>
              <a:avLst/>
              <a:gdLst/>
              <a:ahLst/>
              <a:cxnLst/>
              <a:rect l="l" t="t" r="r" b="b"/>
              <a:pathLst>
                <a:path w="36249" h="24726" extrusionOk="0">
                  <a:moveTo>
                    <a:pt x="24495" y="1"/>
                  </a:moveTo>
                  <a:cubicBezTo>
                    <a:pt x="24290" y="206"/>
                    <a:pt x="23948" y="255"/>
                    <a:pt x="23608" y="255"/>
                  </a:cubicBezTo>
                  <a:cubicBezTo>
                    <a:pt x="23297" y="255"/>
                    <a:pt x="22988" y="214"/>
                    <a:pt x="22789" y="214"/>
                  </a:cubicBezTo>
                  <a:cubicBezTo>
                    <a:pt x="22663" y="214"/>
                    <a:pt x="22581" y="230"/>
                    <a:pt x="22569" y="283"/>
                  </a:cubicBezTo>
                  <a:cubicBezTo>
                    <a:pt x="22498" y="513"/>
                    <a:pt x="21632" y="1238"/>
                    <a:pt x="20625" y="1556"/>
                  </a:cubicBezTo>
                  <a:cubicBezTo>
                    <a:pt x="19529" y="1909"/>
                    <a:pt x="17285" y="2475"/>
                    <a:pt x="16896" y="2475"/>
                  </a:cubicBezTo>
                  <a:cubicBezTo>
                    <a:pt x="15853" y="2475"/>
                    <a:pt x="9986" y="1962"/>
                    <a:pt x="9668" y="1662"/>
                  </a:cubicBezTo>
                  <a:cubicBezTo>
                    <a:pt x="8678" y="2333"/>
                    <a:pt x="7105" y="3553"/>
                    <a:pt x="6946" y="3606"/>
                  </a:cubicBezTo>
                  <a:cubicBezTo>
                    <a:pt x="6822" y="3606"/>
                    <a:pt x="6840" y="3836"/>
                    <a:pt x="4702" y="7777"/>
                  </a:cubicBezTo>
                  <a:cubicBezTo>
                    <a:pt x="3765" y="9544"/>
                    <a:pt x="2634" y="11824"/>
                    <a:pt x="2510" y="11948"/>
                  </a:cubicBezTo>
                  <a:cubicBezTo>
                    <a:pt x="2386" y="12036"/>
                    <a:pt x="1344" y="12283"/>
                    <a:pt x="1" y="12566"/>
                  </a:cubicBezTo>
                  <a:cubicBezTo>
                    <a:pt x="425" y="13291"/>
                    <a:pt x="2351" y="16649"/>
                    <a:pt x="2563" y="16861"/>
                  </a:cubicBezTo>
                  <a:cubicBezTo>
                    <a:pt x="2687" y="16984"/>
                    <a:pt x="3093" y="17055"/>
                    <a:pt x="3800" y="17179"/>
                  </a:cubicBezTo>
                  <a:cubicBezTo>
                    <a:pt x="4242" y="17250"/>
                    <a:pt x="4896" y="17338"/>
                    <a:pt x="5020" y="17444"/>
                  </a:cubicBezTo>
                  <a:cubicBezTo>
                    <a:pt x="4967" y="17656"/>
                    <a:pt x="4896" y="17868"/>
                    <a:pt x="4808" y="18080"/>
                  </a:cubicBezTo>
                  <a:cubicBezTo>
                    <a:pt x="4490" y="18893"/>
                    <a:pt x="4330" y="19406"/>
                    <a:pt x="4507" y="19582"/>
                  </a:cubicBezTo>
                  <a:cubicBezTo>
                    <a:pt x="4596" y="19671"/>
                    <a:pt x="5055" y="19883"/>
                    <a:pt x="6186" y="20360"/>
                  </a:cubicBezTo>
                  <a:cubicBezTo>
                    <a:pt x="7317" y="20837"/>
                    <a:pt x="9173" y="21632"/>
                    <a:pt x="9350" y="21845"/>
                  </a:cubicBezTo>
                  <a:cubicBezTo>
                    <a:pt x="9491" y="22481"/>
                    <a:pt x="9915" y="23965"/>
                    <a:pt x="10127" y="24177"/>
                  </a:cubicBezTo>
                  <a:cubicBezTo>
                    <a:pt x="10339" y="24389"/>
                    <a:pt x="17196" y="24725"/>
                    <a:pt x="20113" y="24725"/>
                  </a:cubicBezTo>
                  <a:cubicBezTo>
                    <a:pt x="20872" y="24725"/>
                    <a:pt x="21367" y="24708"/>
                    <a:pt x="21420" y="24655"/>
                  </a:cubicBezTo>
                  <a:cubicBezTo>
                    <a:pt x="21615" y="24442"/>
                    <a:pt x="25715" y="21438"/>
                    <a:pt x="26139" y="21438"/>
                  </a:cubicBezTo>
                  <a:cubicBezTo>
                    <a:pt x="26422" y="21438"/>
                    <a:pt x="29674" y="22463"/>
                    <a:pt x="32678" y="23453"/>
                  </a:cubicBezTo>
                  <a:lnTo>
                    <a:pt x="32678" y="22905"/>
                  </a:lnTo>
                  <a:cubicBezTo>
                    <a:pt x="32678" y="20254"/>
                    <a:pt x="32696" y="19706"/>
                    <a:pt x="32784" y="19600"/>
                  </a:cubicBezTo>
                  <a:cubicBezTo>
                    <a:pt x="32872" y="19512"/>
                    <a:pt x="32979" y="19441"/>
                    <a:pt x="33067" y="19370"/>
                  </a:cubicBezTo>
                  <a:cubicBezTo>
                    <a:pt x="33244" y="19264"/>
                    <a:pt x="33403" y="19123"/>
                    <a:pt x="33526" y="18964"/>
                  </a:cubicBezTo>
                  <a:cubicBezTo>
                    <a:pt x="33526" y="18805"/>
                    <a:pt x="33845" y="17744"/>
                    <a:pt x="34021" y="17568"/>
                  </a:cubicBezTo>
                  <a:cubicBezTo>
                    <a:pt x="34251" y="17409"/>
                    <a:pt x="34498" y="17303"/>
                    <a:pt x="34746" y="17214"/>
                  </a:cubicBezTo>
                  <a:cubicBezTo>
                    <a:pt x="35170" y="17055"/>
                    <a:pt x="35965" y="16737"/>
                    <a:pt x="36018" y="16596"/>
                  </a:cubicBezTo>
                  <a:cubicBezTo>
                    <a:pt x="36018" y="16490"/>
                    <a:pt x="36071" y="15853"/>
                    <a:pt x="36142" y="15093"/>
                  </a:cubicBezTo>
                  <a:cubicBezTo>
                    <a:pt x="36177" y="14811"/>
                    <a:pt x="36213" y="14280"/>
                    <a:pt x="36248" y="14015"/>
                  </a:cubicBezTo>
                  <a:cubicBezTo>
                    <a:pt x="35789" y="13839"/>
                    <a:pt x="35347" y="13644"/>
                    <a:pt x="34923" y="13414"/>
                  </a:cubicBezTo>
                  <a:cubicBezTo>
                    <a:pt x="34894" y="13387"/>
                    <a:pt x="34853" y="13375"/>
                    <a:pt x="34802" y="13375"/>
                  </a:cubicBezTo>
                  <a:cubicBezTo>
                    <a:pt x="34291" y="13375"/>
                    <a:pt x="32781" y="14634"/>
                    <a:pt x="32572" y="14811"/>
                  </a:cubicBezTo>
                  <a:cubicBezTo>
                    <a:pt x="32095" y="14722"/>
                    <a:pt x="31635" y="14563"/>
                    <a:pt x="31211" y="14333"/>
                  </a:cubicBezTo>
                  <a:cubicBezTo>
                    <a:pt x="30593" y="13980"/>
                    <a:pt x="29992" y="13591"/>
                    <a:pt x="29426" y="13149"/>
                  </a:cubicBezTo>
                  <a:cubicBezTo>
                    <a:pt x="29285" y="12973"/>
                    <a:pt x="29285" y="11205"/>
                    <a:pt x="29426" y="7936"/>
                  </a:cubicBezTo>
                  <a:cubicBezTo>
                    <a:pt x="29444" y="7600"/>
                    <a:pt x="29444" y="7353"/>
                    <a:pt x="29444" y="7282"/>
                  </a:cubicBezTo>
                  <a:cubicBezTo>
                    <a:pt x="29444" y="6840"/>
                    <a:pt x="26316" y="3164"/>
                    <a:pt x="26033" y="2881"/>
                  </a:cubicBezTo>
                  <a:cubicBezTo>
                    <a:pt x="25750" y="2599"/>
                    <a:pt x="25167" y="1397"/>
                    <a:pt x="24778" y="584"/>
                  </a:cubicBezTo>
                  <a:cubicBezTo>
                    <a:pt x="24672" y="354"/>
                    <a:pt x="24566" y="142"/>
                    <a:pt x="2449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5" name="Google Shape;567;p24">
              <a:extLst>
                <a:ext uri="{FF2B5EF4-FFF2-40B4-BE49-F238E27FC236}">
                  <a16:creationId xmlns:a16="http://schemas.microsoft.com/office/drawing/2014/main" id="{4559F405-250C-4771-84AB-D6A33710C071}"/>
                </a:ext>
              </a:extLst>
            </p:cNvPr>
            <p:cNvSpPr/>
            <p:nvPr/>
          </p:nvSpPr>
          <p:spPr>
            <a:xfrm>
              <a:off x="2824275" y="3539900"/>
              <a:ext cx="448025" cy="255775"/>
            </a:xfrm>
            <a:custGeom>
              <a:avLst/>
              <a:gdLst/>
              <a:ahLst/>
              <a:cxnLst/>
              <a:rect l="l" t="t" r="r" b="b"/>
              <a:pathLst>
                <a:path w="17921" h="10231" extrusionOk="0">
                  <a:moveTo>
                    <a:pt x="10498" y="0"/>
                  </a:moveTo>
                  <a:cubicBezTo>
                    <a:pt x="10021" y="0"/>
                    <a:pt x="7989" y="442"/>
                    <a:pt x="7405" y="548"/>
                  </a:cubicBezTo>
                  <a:cubicBezTo>
                    <a:pt x="7405" y="566"/>
                    <a:pt x="7388" y="583"/>
                    <a:pt x="7370" y="583"/>
                  </a:cubicBezTo>
                  <a:cubicBezTo>
                    <a:pt x="7052" y="742"/>
                    <a:pt x="5020" y="1873"/>
                    <a:pt x="4931" y="1944"/>
                  </a:cubicBezTo>
                  <a:cubicBezTo>
                    <a:pt x="4843" y="2033"/>
                    <a:pt x="3994" y="2633"/>
                    <a:pt x="3164" y="3199"/>
                  </a:cubicBezTo>
                  <a:cubicBezTo>
                    <a:pt x="2156" y="3888"/>
                    <a:pt x="1114" y="4595"/>
                    <a:pt x="955" y="4754"/>
                  </a:cubicBezTo>
                  <a:cubicBezTo>
                    <a:pt x="672" y="5055"/>
                    <a:pt x="0" y="6787"/>
                    <a:pt x="142" y="7140"/>
                  </a:cubicBezTo>
                  <a:cubicBezTo>
                    <a:pt x="177" y="7211"/>
                    <a:pt x="248" y="7264"/>
                    <a:pt x="318" y="7264"/>
                  </a:cubicBezTo>
                  <a:cubicBezTo>
                    <a:pt x="654" y="7193"/>
                    <a:pt x="972" y="7087"/>
                    <a:pt x="1273" y="6946"/>
                  </a:cubicBezTo>
                  <a:cubicBezTo>
                    <a:pt x="1626" y="6769"/>
                    <a:pt x="2015" y="6663"/>
                    <a:pt x="2386" y="6575"/>
                  </a:cubicBezTo>
                  <a:cubicBezTo>
                    <a:pt x="2669" y="6628"/>
                    <a:pt x="3128" y="9367"/>
                    <a:pt x="3128" y="9773"/>
                  </a:cubicBezTo>
                  <a:cubicBezTo>
                    <a:pt x="3747" y="9809"/>
                    <a:pt x="6787" y="9968"/>
                    <a:pt x="7105" y="9968"/>
                  </a:cubicBezTo>
                  <a:cubicBezTo>
                    <a:pt x="7299" y="9968"/>
                    <a:pt x="7670" y="9650"/>
                    <a:pt x="8377" y="8978"/>
                  </a:cubicBezTo>
                  <a:cubicBezTo>
                    <a:pt x="8731" y="8625"/>
                    <a:pt x="9243" y="8130"/>
                    <a:pt x="9349" y="8112"/>
                  </a:cubicBezTo>
                  <a:cubicBezTo>
                    <a:pt x="9367" y="8112"/>
                    <a:pt x="9455" y="8112"/>
                    <a:pt x="9579" y="8130"/>
                  </a:cubicBezTo>
                  <a:cubicBezTo>
                    <a:pt x="9809" y="8165"/>
                    <a:pt x="10003" y="8306"/>
                    <a:pt x="10092" y="8519"/>
                  </a:cubicBezTo>
                  <a:cubicBezTo>
                    <a:pt x="10392" y="9066"/>
                    <a:pt x="10534" y="10215"/>
                    <a:pt x="10710" y="10215"/>
                  </a:cubicBezTo>
                  <a:cubicBezTo>
                    <a:pt x="10752" y="10215"/>
                    <a:pt x="10840" y="10231"/>
                    <a:pt x="10934" y="10231"/>
                  </a:cubicBezTo>
                  <a:cubicBezTo>
                    <a:pt x="11038" y="10231"/>
                    <a:pt x="11149" y="10211"/>
                    <a:pt x="11205" y="10127"/>
                  </a:cubicBezTo>
                  <a:cubicBezTo>
                    <a:pt x="11541" y="9703"/>
                    <a:pt x="11912" y="8907"/>
                    <a:pt x="11983" y="8819"/>
                  </a:cubicBezTo>
                  <a:cubicBezTo>
                    <a:pt x="12078" y="8731"/>
                    <a:pt x="12350" y="8716"/>
                    <a:pt x="12697" y="8716"/>
                  </a:cubicBezTo>
                  <a:cubicBezTo>
                    <a:pt x="12874" y="8716"/>
                    <a:pt x="13072" y="8720"/>
                    <a:pt x="13274" y="8720"/>
                  </a:cubicBezTo>
                  <a:cubicBezTo>
                    <a:pt x="13629" y="8720"/>
                    <a:pt x="14000" y="8708"/>
                    <a:pt x="14316" y="8642"/>
                  </a:cubicBezTo>
                  <a:cubicBezTo>
                    <a:pt x="14952" y="8501"/>
                    <a:pt x="15376" y="7476"/>
                    <a:pt x="15429" y="7405"/>
                  </a:cubicBezTo>
                  <a:cubicBezTo>
                    <a:pt x="15712" y="7087"/>
                    <a:pt x="17285" y="6804"/>
                    <a:pt x="17921" y="6804"/>
                  </a:cubicBezTo>
                  <a:cubicBezTo>
                    <a:pt x="17797" y="6433"/>
                    <a:pt x="17532" y="5779"/>
                    <a:pt x="17249" y="5779"/>
                  </a:cubicBezTo>
                  <a:cubicBezTo>
                    <a:pt x="17090" y="5779"/>
                    <a:pt x="16931" y="5815"/>
                    <a:pt x="16772" y="5868"/>
                  </a:cubicBezTo>
                  <a:cubicBezTo>
                    <a:pt x="16507" y="5938"/>
                    <a:pt x="16242" y="5991"/>
                    <a:pt x="15977" y="6009"/>
                  </a:cubicBezTo>
                  <a:cubicBezTo>
                    <a:pt x="15606" y="6009"/>
                    <a:pt x="14651" y="4984"/>
                    <a:pt x="14298" y="4595"/>
                  </a:cubicBezTo>
                  <a:cubicBezTo>
                    <a:pt x="14227" y="4524"/>
                    <a:pt x="14156" y="4436"/>
                    <a:pt x="14103" y="4401"/>
                  </a:cubicBezTo>
                  <a:cubicBezTo>
                    <a:pt x="13980" y="4277"/>
                    <a:pt x="14280" y="3411"/>
                    <a:pt x="14404" y="3005"/>
                  </a:cubicBezTo>
                  <a:cubicBezTo>
                    <a:pt x="14510" y="2704"/>
                    <a:pt x="14581" y="2262"/>
                    <a:pt x="14616" y="2121"/>
                  </a:cubicBezTo>
                  <a:cubicBezTo>
                    <a:pt x="14227" y="1661"/>
                    <a:pt x="10940" y="0"/>
                    <a:pt x="10498"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6" name="Google Shape;568;p24">
              <a:extLst>
                <a:ext uri="{FF2B5EF4-FFF2-40B4-BE49-F238E27FC236}">
                  <a16:creationId xmlns:a16="http://schemas.microsoft.com/office/drawing/2014/main" id="{B2B70C57-EDFE-4FD6-8531-7BC19658C796}"/>
                </a:ext>
              </a:extLst>
            </p:cNvPr>
            <p:cNvSpPr/>
            <p:nvPr/>
          </p:nvSpPr>
          <p:spPr>
            <a:xfrm>
              <a:off x="2733250" y="2964200"/>
              <a:ext cx="475" cy="450"/>
            </a:xfrm>
            <a:custGeom>
              <a:avLst/>
              <a:gdLst/>
              <a:ahLst/>
              <a:cxnLst/>
              <a:rect l="l" t="t" r="r" b="b"/>
              <a:pathLst>
                <a:path w="19" h="18" extrusionOk="0">
                  <a:moveTo>
                    <a:pt x="1" y="18"/>
                  </a:moveTo>
                  <a:lnTo>
                    <a:pt x="1" y="18"/>
                  </a:lnTo>
                  <a:lnTo>
                    <a:pt x="18" y="0"/>
                  </a:ln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7" name="Google Shape;569;p24">
              <a:extLst>
                <a:ext uri="{FF2B5EF4-FFF2-40B4-BE49-F238E27FC236}">
                  <a16:creationId xmlns:a16="http://schemas.microsoft.com/office/drawing/2014/main" id="{8991BED6-047C-43D6-9971-F3B4039296DE}"/>
                </a:ext>
              </a:extLst>
            </p:cNvPr>
            <p:cNvSpPr/>
            <p:nvPr/>
          </p:nvSpPr>
          <p:spPr>
            <a:xfrm>
              <a:off x="2734575" y="2741500"/>
              <a:ext cx="349075" cy="414025"/>
            </a:xfrm>
            <a:custGeom>
              <a:avLst/>
              <a:gdLst/>
              <a:ahLst/>
              <a:cxnLst/>
              <a:rect l="l" t="t" r="r" b="b"/>
              <a:pathLst>
                <a:path w="13963" h="16561" extrusionOk="0">
                  <a:moveTo>
                    <a:pt x="11117" y="1"/>
                  </a:moveTo>
                  <a:cubicBezTo>
                    <a:pt x="10304" y="1"/>
                    <a:pt x="9473" y="708"/>
                    <a:pt x="8979" y="1203"/>
                  </a:cubicBezTo>
                  <a:cubicBezTo>
                    <a:pt x="8501" y="1680"/>
                    <a:pt x="6434" y="1963"/>
                    <a:pt x="6045" y="2351"/>
                  </a:cubicBezTo>
                  <a:cubicBezTo>
                    <a:pt x="5638" y="2740"/>
                    <a:pt x="5356" y="4419"/>
                    <a:pt x="5232" y="4896"/>
                  </a:cubicBezTo>
                  <a:cubicBezTo>
                    <a:pt x="5091" y="5356"/>
                    <a:pt x="4454" y="5338"/>
                    <a:pt x="4066" y="6133"/>
                  </a:cubicBezTo>
                  <a:cubicBezTo>
                    <a:pt x="3677" y="6946"/>
                    <a:pt x="2351" y="7406"/>
                    <a:pt x="2104" y="7689"/>
                  </a:cubicBezTo>
                  <a:cubicBezTo>
                    <a:pt x="1839" y="7954"/>
                    <a:pt x="2351" y="8378"/>
                    <a:pt x="2104" y="8625"/>
                  </a:cubicBezTo>
                  <a:cubicBezTo>
                    <a:pt x="2046" y="8683"/>
                    <a:pt x="1965" y="8704"/>
                    <a:pt x="1869" y="8704"/>
                  </a:cubicBezTo>
                  <a:cubicBezTo>
                    <a:pt x="1611" y="8704"/>
                    <a:pt x="1239" y="8556"/>
                    <a:pt x="889" y="8556"/>
                  </a:cubicBezTo>
                  <a:cubicBezTo>
                    <a:pt x="765" y="8556"/>
                    <a:pt x="644" y="8574"/>
                    <a:pt x="531" y="8625"/>
                  </a:cubicBezTo>
                  <a:lnTo>
                    <a:pt x="1" y="8890"/>
                  </a:lnTo>
                  <a:cubicBezTo>
                    <a:pt x="283" y="9509"/>
                    <a:pt x="584" y="10128"/>
                    <a:pt x="778" y="10322"/>
                  </a:cubicBezTo>
                  <a:cubicBezTo>
                    <a:pt x="884" y="10420"/>
                    <a:pt x="1100" y="10457"/>
                    <a:pt x="1419" y="10457"/>
                  </a:cubicBezTo>
                  <a:cubicBezTo>
                    <a:pt x="1791" y="10457"/>
                    <a:pt x="2305" y="10406"/>
                    <a:pt x="2952" y="10340"/>
                  </a:cubicBezTo>
                  <a:cubicBezTo>
                    <a:pt x="3450" y="10294"/>
                    <a:pt x="4064" y="10235"/>
                    <a:pt x="4483" y="10235"/>
                  </a:cubicBezTo>
                  <a:cubicBezTo>
                    <a:pt x="4718" y="10235"/>
                    <a:pt x="4892" y="10253"/>
                    <a:pt x="4949" y="10304"/>
                  </a:cubicBezTo>
                  <a:cubicBezTo>
                    <a:pt x="5373" y="10675"/>
                    <a:pt x="5833" y="10993"/>
                    <a:pt x="6310" y="11312"/>
                  </a:cubicBezTo>
                  <a:cubicBezTo>
                    <a:pt x="6805" y="11612"/>
                    <a:pt x="7264" y="11966"/>
                    <a:pt x="7724" y="12337"/>
                  </a:cubicBezTo>
                  <a:cubicBezTo>
                    <a:pt x="7689" y="12407"/>
                    <a:pt x="7582" y="12584"/>
                    <a:pt x="7494" y="12743"/>
                  </a:cubicBezTo>
                  <a:cubicBezTo>
                    <a:pt x="7088" y="13485"/>
                    <a:pt x="6787" y="14051"/>
                    <a:pt x="7035" y="14298"/>
                  </a:cubicBezTo>
                  <a:cubicBezTo>
                    <a:pt x="7264" y="14528"/>
                    <a:pt x="8643" y="16278"/>
                    <a:pt x="8855" y="16561"/>
                  </a:cubicBezTo>
                  <a:cubicBezTo>
                    <a:pt x="9049" y="15129"/>
                    <a:pt x="9491" y="10993"/>
                    <a:pt x="9297" y="10446"/>
                  </a:cubicBezTo>
                  <a:cubicBezTo>
                    <a:pt x="9226" y="10251"/>
                    <a:pt x="9562" y="9332"/>
                    <a:pt x="9668" y="9173"/>
                  </a:cubicBezTo>
                  <a:cubicBezTo>
                    <a:pt x="9968" y="8767"/>
                    <a:pt x="11011" y="8396"/>
                    <a:pt x="11188" y="8396"/>
                  </a:cubicBezTo>
                  <a:cubicBezTo>
                    <a:pt x="11196" y="8396"/>
                    <a:pt x="11419" y="8433"/>
                    <a:pt x="11667" y="8433"/>
                  </a:cubicBezTo>
                  <a:cubicBezTo>
                    <a:pt x="11982" y="8433"/>
                    <a:pt x="12337" y="8372"/>
                    <a:pt x="12337" y="8095"/>
                  </a:cubicBezTo>
                  <a:cubicBezTo>
                    <a:pt x="12337" y="7812"/>
                    <a:pt x="13468" y="5550"/>
                    <a:pt x="13697" y="5320"/>
                  </a:cubicBezTo>
                  <a:cubicBezTo>
                    <a:pt x="13927" y="5091"/>
                    <a:pt x="13962" y="1273"/>
                    <a:pt x="13945" y="655"/>
                  </a:cubicBezTo>
                  <a:lnTo>
                    <a:pt x="13945" y="655"/>
                  </a:lnTo>
                  <a:cubicBezTo>
                    <a:pt x="13918" y="658"/>
                    <a:pt x="13889" y="660"/>
                    <a:pt x="13858" y="660"/>
                  </a:cubicBezTo>
                  <a:cubicBezTo>
                    <a:pt x="13225" y="660"/>
                    <a:pt x="11842" y="1"/>
                    <a:pt x="11117"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8" name="Google Shape;570;p24">
              <a:extLst>
                <a:ext uri="{FF2B5EF4-FFF2-40B4-BE49-F238E27FC236}">
                  <a16:creationId xmlns:a16="http://schemas.microsoft.com/office/drawing/2014/main" id="{37681F1C-5337-4F3F-B1C1-00F8C5B14225}"/>
                </a:ext>
              </a:extLst>
            </p:cNvPr>
            <p:cNvSpPr/>
            <p:nvPr/>
          </p:nvSpPr>
          <p:spPr>
            <a:xfrm>
              <a:off x="3519275" y="3726350"/>
              <a:ext cx="294725" cy="190875"/>
            </a:xfrm>
            <a:custGeom>
              <a:avLst/>
              <a:gdLst/>
              <a:ahLst/>
              <a:cxnLst/>
              <a:rect l="l" t="t" r="r" b="b"/>
              <a:pathLst>
                <a:path w="11789" h="7635" extrusionOk="0">
                  <a:moveTo>
                    <a:pt x="11223" y="0"/>
                  </a:moveTo>
                  <a:cubicBezTo>
                    <a:pt x="10781" y="36"/>
                    <a:pt x="7511" y="407"/>
                    <a:pt x="7175" y="407"/>
                  </a:cubicBezTo>
                  <a:cubicBezTo>
                    <a:pt x="6963" y="407"/>
                    <a:pt x="6221" y="813"/>
                    <a:pt x="5019" y="1520"/>
                  </a:cubicBezTo>
                  <a:cubicBezTo>
                    <a:pt x="4489" y="1838"/>
                    <a:pt x="3959" y="2139"/>
                    <a:pt x="3411" y="2404"/>
                  </a:cubicBezTo>
                  <a:cubicBezTo>
                    <a:pt x="3319" y="2434"/>
                    <a:pt x="3131" y="2447"/>
                    <a:pt x="2888" y="2447"/>
                  </a:cubicBezTo>
                  <a:cubicBezTo>
                    <a:pt x="2148" y="2447"/>
                    <a:pt x="895" y="2333"/>
                    <a:pt x="283" y="2280"/>
                  </a:cubicBezTo>
                  <a:cubicBezTo>
                    <a:pt x="283" y="3075"/>
                    <a:pt x="177" y="4807"/>
                    <a:pt x="106" y="6150"/>
                  </a:cubicBezTo>
                  <a:cubicBezTo>
                    <a:pt x="742" y="6292"/>
                    <a:pt x="866" y="6610"/>
                    <a:pt x="866" y="6716"/>
                  </a:cubicBezTo>
                  <a:cubicBezTo>
                    <a:pt x="866" y="6875"/>
                    <a:pt x="142" y="7016"/>
                    <a:pt x="53" y="7388"/>
                  </a:cubicBezTo>
                  <a:cubicBezTo>
                    <a:pt x="53" y="7388"/>
                    <a:pt x="0" y="7635"/>
                    <a:pt x="0" y="7635"/>
                  </a:cubicBezTo>
                  <a:cubicBezTo>
                    <a:pt x="725" y="7529"/>
                    <a:pt x="1926" y="7617"/>
                    <a:pt x="4047" y="7405"/>
                  </a:cubicBezTo>
                  <a:cubicBezTo>
                    <a:pt x="5762" y="7228"/>
                    <a:pt x="8978" y="7087"/>
                    <a:pt x="9155" y="6999"/>
                  </a:cubicBezTo>
                  <a:cubicBezTo>
                    <a:pt x="9296" y="6857"/>
                    <a:pt x="9243" y="5779"/>
                    <a:pt x="9243" y="5214"/>
                  </a:cubicBezTo>
                  <a:cubicBezTo>
                    <a:pt x="9243" y="4896"/>
                    <a:pt x="10091" y="4401"/>
                    <a:pt x="11346" y="3641"/>
                  </a:cubicBezTo>
                  <a:cubicBezTo>
                    <a:pt x="11788" y="3376"/>
                    <a:pt x="11788" y="2916"/>
                    <a:pt x="11770" y="2669"/>
                  </a:cubicBezTo>
                  <a:cubicBezTo>
                    <a:pt x="11647" y="2280"/>
                    <a:pt x="11099" y="831"/>
                    <a:pt x="11223"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69" name="Google Shape;571;p24">
              <a:extLst>
                <a:ext uri="{FF2B5EF4-FFF2-40B4-BE49-F238E27FC236}">
                  <a16:creationId xmlns:a16="http://schemas.microsoft.com/office/drawing/2014/main" id="{E95B2222-C0A9-4E06-9139-773BB57C9345}"/>
                </a:ext>
              </a:extLst>
            </p:cNvPr>
            <p:cNvSpPr/>
            <p:nvPr/>
          </p:nvSpPr>
          <p:spPr>
            <a:xfrm>
              <a:off x="2619700" y="2963750"/>
              <a:ext cx="336250" cy="312875"/>
            </a:xfrm>
            <a:custGeom>
              <a:avLst/>
              <a:gdLst/>
              <a:ahLst/>
              <a:cxnLst/>
              <a:rect l="l" t="t" r="r" b="b"/>
              <a:pathLst>
                <a:path w="13450" h="12515" extrusionOk="0">
                  <a:moveTo>
                    <a:pt x="1" y="1291"/>
                  </a:moveTo>
                  <a:cubicBezTo>
                    <a:pt x="102" y="1293"/>
                    <a:pt x="209" y="1295"/>
                    <a:pt x="321" y="1296"/>
                  </a:cubicBezTo>
                  <a:lnTo>
                    <a:pt x="321" y="1296"/>
                  </a:lnTo>
                  <a:cubicBezTo>
                    <a:pt x="320" y="1295"/>
                    <a:pt x="319" y="1293"/>
                    <a:pt x="319" y="1291"/>
                  </a:cubicBezTo>
                  <a:close/>
                  <a:moveTo>
                    <a:pt x="4596" y="0"/>
                  </a:moveTo>
                  <a:lnTo>
                    <a:pt x="4578" y="18"/>
                  </a:lnTo>
                  <a:lnTo>
                    <a:pt x="4543" y="18"/>
                  </a:lnTo>
                  <a:cubicBezTo>
                    <a:pt x="3942" y="319"/>
                    <a:pt x="3129" y="707"/>
                    <a:pt x="2563" y="1025"/>
                  </a:cubicBezTo>
                  <a:cubicBezTo>
                    <a:pt x="2172" y="1255"/>
                    <a:pt x="1357" y="1299"/>
                    <a:pt x="631" y="1299"/>
                  </a:cubicBezTo>
                  <a:cubicBezTo>
                    <a:pt x="525" y="1299"/>
                    <a:pt x="421" y="1298"/>
                    <a:pt x="321" y="1296"/>
                  </a:cubicBezTo>
                  <a:lnTo>
                    <a:pt x="321" y="1296"/>
                  </a:lnTo>
                  <a:cubicBezTo>
                    <a:pt x="568" y="2161"/>
                    <a:pt x="974" y="3094"/>
                    <a:pt x="1591" y="3482"/>
                  </a:cubicBezTo>
                  <a:cubicBezTo>
                    <a:pt x="2864" y="4277"/>
                    <a:pt x="4949" y="7105"/>
                    <a:pt x="5073" y="7600"/>
                  </a:cubicBezTo>
                  <a:cubicBezTo>
                    <a:pt x="5444" y="9208"/>
                    <a:pt x="6169" y="9332"/>
                    <a:pt x="6823" y="9986"/>
                  </a:cubicBezTo>
                  <a:cubicBezTo>
                    <a:pt x="7141" y="10198"/>
                    <a:pt x="7494" y="10374"/>
                    <a:pt x="7865" y="10498"/>
                  </a:cubicBezTo>
                  <a:cubicBezTo>
                    <a:pt x="7979" y="10548"/>
                    <a:pt x="8107" y="10567"/>
                    <a:pt x="8239" y="10567"/>
                  </a:cubicBezTo>
                  <a:cubicBezTo>
                    <a:pt x="8665" y="10567"/>
                    <a:pt x="9142" y="10372"/>
                    <a:pt x="9392" y="10372"/>
                  </a:cubicBezTo>
                  <a:cubicBezTo>
                    <a:pt x="9451" y="10372"/>
                    <a:pt x="9497" y="10383"/>
                    <a:pt x="9527" y="10410"/>
                  </a:cubicBezTo>
                  <a:cubicBezTo>
                    <a:pt x="9668" y="10551"/>
                    <a:pt x="10392" y="12513"/>
                    <a:pt x="10516" y="12513"/>
                  </a:cubicBezTo>
                  <a:cubicBezTo>
                    <a:pt x="10543" y="12513"/>
                    <a:pt x="10578" y="12514"/>
                    <a:pt x="10616" y="12514"/>
                  </a:cubicBezTo>
                  <a:cubicBezTo>
                    <a:pt x="10730" y="12514"/>
                    <a:pt x="10870" y="12504"/>
                    <a:pt x="10870" y="12425"/>
                  </a:cubicBezTo>
                  <a:cubicBezTo>
                    <a:pt x="10852" y="11735"/>
                    <a:pt x="10834" y="9933"/>
                    <a:pt x="10958" y="9827"/>
                  </a:cubicBezTo>
                  <a:cubicBezTo>
                    <a:pt x="11188" y="9809"/>
                    <a:pt x="11400" y="9774"/>
                    <a:pt x="11612" y="9703"/>
                  </a:cubicBezTo>
                  <a:cubicBezTo>
                    <a:pt x="11806" y="9615"/>
                    <a:pt x="11983" y="9509"/>
                    <a:pt x="12018" y="9367"/>
                  </a:cubicBezTo>
                  <a:cubicBezTo>
                    <a:pt x="12089" y="9120"/>
                    <a:pt x="12425" y="8961"/>
                    <a:pt x="12478" y="8696"/>
                  </a:cubicBezTo>
                  <a:cubicBezTo>
                    <a:pt x="12549" y="8430"/>
                    <a:pt x="13203" y="8059"/>
                    <a:pt x="13415" y="7936"/>
                  </a:cubicBezTo>
                  <a:cubicBezTo>
                    <a:pt x="13415" y="7865"/>
                    <a:pt x="13432" y="7777"/>
                    <a:pt x="13450" y="7671"/>
                  </a:cubicBezTo>
                  <a:cubicBezTo>
                    <a:pt x="13220" y="7405"/>
                    <a:pt x="11895" y="5673"/>
                    <a:pt x="11630" y="5408"/>
                  </a:cubicBezTo>
                  <a:cubicBezTo>
                    <a:pt x="11365" y="5143"/>
                    <a:pt x="11683" y="4578"/>
                    <a:pt x="12089" y="3853"/>
                  </a:cubicBezTo>
                  <a:cubicBezTo>
                    <a:pt x="12177" y="3694"/>
                    <a:pt x="12284" y="3517"/>
                    <a:pt x="12319" y="3447"/>
                  </a:cubicBezTo>
                  <a:cubicBezTo>
                    <a:pt x="11859" y="3076"/>
                    <a:pt x="11400" y="2740"/>
                    <a:pt x="10905" y="2422"/>
                  </a:cubicBezTo>
                  <a:cubicBezTo>
                    <a:pt x="10428" y="2121"/>
                    <a:pt x="9986" y="1785"/>
                    <a:pt x="9544" y="1432"/>
                  </a:cubicBezTo>
                  <a:cubicBezTo>
                    <a:pt x="9483" y="1371"/>
                    <a:pt x="9290" y="1349"/>
                    <a:pt x="9031" y="1349"/>
                  </a:cubicBezTo>
                  <a:cubicBezTo>
                    <a:pt x="8614" y="1349"/>
                    <a:pt x="8027" y="1406"/>
                    <a:pt x="7547" y="1450"/>
                  </a:cubicBezTo>
                  <a:cubicBezTo>
                    <a:pt x="6900" y="1516"/>
                    <a:pt x="6386" y="1567"/>
                    <a:pt x="6014" y="1567"/>
                  </a:cubicBezTo>
                  <a:cubicBezTo>
                    <a:pt x="5695" y="1567"/>
                    <a:pt x="5479" y="1530"/>
                    <a:pt x="5373" y="1432"/>
                  </a:cubicBezTo>
                  <a:cubicBezTo>
                    <a:pt x="5197" y="1238"/>
                    <a:pt x="4878" y="619"/>
                    <a:pt x="4596"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0" name="Google Shape;572;p24">
              <a:extLst>
                <a:ext uri="{FF2B5EF4-FFF2-40B4-BE49-F238E27FC236}">
                  <a16:creationId xmlns:a16="http://schemas.microsoft.com/office/drawing/2014/main" id="{962695EF-3855-4A4D-ADA5-85A3CDCB9D9D}"/>
                </a:ext>
              </a:extLst>
            </p:cNvPr>
            <p:cNvSpPr/>
            <p:nvPr/>
          </p:nvSpPr>
          <p:spPr>
            <a:xfrm>
              <a:off x="2909975" y="2581125"/>
              <a:ext cx="804150" cy="1052900"/>
            </a:xfrm>
            <a:custGeom>
              <a:avLst/>
              <a:gdLst/>
              <a:ahLst/>
              <a:cxnLst/>
              <a:rect l="l" t="t" r="r" b="b"/>
              <a:pathLst>
                <a:path w="32166" h="42116" extrusionOk="0">
                  <a:moveTo>
                    <a:pt x="13150" y="0"/>
                  </a:moveTo>
                  <a:lnTo>
                    <a:pt x="13150" y="0"/>
                  </a:lnTo>
                  <a:cubicBezTo>
                    <a:pt x="12920" y="654"/>
                    <a:pt x="13910" y="1467"/>
                    <a:pt x="13910" y="1891"/>
                  </a:cubicBezTo>
                  <a:cubicBezTo>
                    <a:pt x="13910" y="2316"/>
                    <a:pt x="13256" y="2864"/>
                    <a:pt x="13627" y="3235"/>
                  </a:cubicBezTo>
                  <a:cubicBezTo>
                    <a:pt x="14016" y="3606"/>
                    <a:pt x="13874" y="4136"/>
                    <a:pt x="13874" y="4755"/>
                  </a:cubicBezTo>
                  <a:cubicBezTo>
                    <a:pt x="13874" y="5322"/>
                    <a:pt x="13260" y="5338"/>
                    <a:pt x="12938" y="5338"/>
                  </a:cubicBezTo>
                  <a:cubicBezTo>
                    <a:pt x="12919" y="5338"/>
                    <a:pt x="12901" y="5338"/>
                    <a:pt x="12885" y="5338"/>
                  </a:cubicBezTo>
                  <a:cubicBezTo>
                    <a:pt x="12584" y="5338"/>
                    <a:pt x="12231" y="5992"/>
                    <a:pt x="12231" y="6380"/>
                  </a:cubicBezTo>
                  <a:cubicBezTo>
                    <a:pt x="12231" y="6752"/>
                    <a:pt x="11842" y="7123"/>
                    <a:pt x="11594" y="7123"/>
                  </a:cubicBezTo>
                  <a:cubicBezTo>
                    <a:pt x="11371" y="7123"/>
                    <a:pt x="11565" y="6260"/>
                    <a:pt x="11203" y="6260"/>
                  </a:cubicBezTo>
                  <a:cubicBezTo>
                    <a:pt x="11164" y="6260"/>
                    <a:pt x="11118" y="6270"/>
                    <a:pt x="11064" y="6292"/>
                  </a:cubicBezTo>
                  <a:cubicBezTo>
                    <a:pt x="10982" y="6326"/>
                    <a:pt x="10861" y="6341"/>
                    <a:pt x="10713" y="6341"/>
                  </a:cubicBezTo>
                  <a:cubicBezTo>
                    <a:pt x="9994" y="6341"/>
                    <a:pt x="8633" y="6009"/>
                    <a:pt x="7970" y="6009"/>
                  </a:cubicBezTo>
                  <a:cubicBezTo>
                    <a:pt x="7851" y="6009"/>
                    <a:pt x="7755" y="6020"/>
                    <a:pt x="7689" y="6045"/>
                  </a:cubicBezTo>
                  <a:cubicBezTo>
                    <a:pt x="7247" y="6204"/>
                    <a:pt x="7229" y="6858"/>
                    <a:pt x="6929" y="7087"/>
                  </a:cubicBezTo>
                  <a:cubicBezTo>
                    <a:pt x="6964" y="7688"/>
                    <a:pt x="6911" y="11523"/>
                    <a:pt x="6681" y="11753"/>
                  </a:cubicBezTo>
                  <a:cubicBezTo>
                    <a:pt x="6469" y="11965"/>
                    <a:pt x="5321" y="14227"/>
                    <a:pt x="5321" y="14510"/>
                  </a:cubicBezTo>
                  <a:cubicBezTo>
                    <a:pt x="5321" y="14802"/>
                    <a:pt x="4955" y="14864"/>
                    <a:pt x="4636" y="14864"/>
                  </a:cubicBezTo>
                  <a:cubicBezTo>
                    <a:pt x="4394" y="14864"/>
                    <a:pt x="4179" y="14828"/>
                    <a:pt x="4172" y="14828"/>
                  </a:cubicBezTo>
                  <a:cubicBezTo>
                    <a:pt x="4013" y="14828"/>
                    <a:pt x="2952" y="15182"/>
                    <a:pt x="2652" y="15606"/>
                  </a:cubicBezTo>
                  <a:cubicBezTo>
                    <a:pt x="2546" y="15765"/>
                    <a:pt x="2210" y="16666"/>
                    <a:pt x="2281" y="16878"/>
                  </a:cubicBezTo>
                  <a:cubicBezTo>
                    <a:pt x="2475" y="17408"/>
                    <a:pt x="2033" y="21544"/>
                    <a:pt x="1839" y="22976"/>
                  </a:cubicBezTo>
                  <a:cubicBezTo>
                    <a:pt x="1821" y="23082"/>
                    <a:pt x="1821" y="23170"/>
                    <a:pt x="1804" y="23258"/>
                  </a:cubicBezTo>
                  <a:cubicBezTo>
                    <a:pt x="1592" y="23364"/>
                    <a:pt x="938" y="23771"/>
                    <a:pt x="885" y="24001"/>
                  </a:cubicBezTo>
                  <a:cubicBezTo>
                    <a:pt x="832" y="24248"/>
                    <a:pt x="496" y="24407"/>
                    <a:pt x="425" y="24672"/>
                  </a:cubicBezTo>
                  <a:cubicBezTo>
                    <a:pt x="372" y="24814"/>
                    <a:pt x="195" y="24920"/>
                    <a:pt x="1" y="25008"/>
                  </a:cubicBezTo>
                  <a:cubicBezTo>
                    <a:pt x="195" y="24937"/>
                    <a:pt x="354" y="24849"/>
                    <a:pt x="390" y="24743"/>
                  </a:cubicBezTo>
                  <a:cubicBezTo>
                    <a:pt x="460" y="25043"/>
                    <a:pt x="832" y="25927"/>
                    <a:pt x="1079" y="26669"/>
                  </a:cubicBezTo>
                  <a:cubicBezTo>
                    <a:pt x="1379" y="27535"/>
                    <a:pt x="1698" y="28507"/>
                    <a:pt x="1698" y="28737"/>
                  </a:cubicBezTo>
                  <a:cubicBezTo>
                    <a:pt x="1698" y="29055"/>
                    <a:pt x="2581" y="29656"/>
                    <a:pt x="4737" y="30981"/>
                  </a:cubicBezTo>
                  <a:cubicBezTo>
                    <a:pt x="5285" y="31300"/>
                    <a:pt x="5815" y="31653"/>
                    <a:pt x="6328" y="32024"/>
                  </a:cubicBezTo>
                  <a:cubicBezTo>
                    <a:pt x="6275" y="32201"/>
                    <a:pt x="5815" y="32749"/>
                    <a:pt x="5268" y="33297"/>
                  </a:cubicBezTo>
                  <a:cubicBezTo>
                    <a:pt x="4932" y="33632"/>
                    <a:pt x="4066" y="38157"/>
                    <a:pt x="3977" y="38828"/>
                  </a:cubicBezTo>
                  <a:cubicBezTo>
                    <a:pt x="3995" y="38864"/>
                    <a:pt x="3995" y="38881"/>
                    <a:pt x="3977" y="38917"/>
                  </a:cubicBezTo>
                  <a:cubicBezTo>
                    <a:pt x="4561" y="38793"/>
                    <a:pt x="6593" y="38351"/>
                    <a:pt x="7070" y="38351"/>
                  </a:cubicBezTo>
                  <a:cubicBezTo>
                    <a:pt x="7512" y="38351"/>
                    <a:pt x="10817" y="40012"/>
                    <a:pt x="11188" y="40472"/>
                  </a:cubicBezTo>
                  <a:cubicBezTo>
                    <a:pt x="11647" y="40772"/>
                    <a:pt x="12796" y="41762"/>
                    <a:pt x="13079" y="41762"/>
                  </a:cubicBezTo>
                  <a:cubicBezTo>
                    <a:pt x="13256" y="41762"/>
                    <a:pt x="14016" y="40967"/>
                    <a:pt x="14298" y="40772"/>
                  </a:cubicBezTo>
                  <a:cubicBezTo>
                    <a:pt x="14318" y="40760"/>
                    <a:pt x="14357" y="40754"/>
                    <a:pt x="14410" y="40754"/>
                  </a:cubicBezTo>
                  <a:cubicBezTo>
                    <a:pt x="14971" y="40754"/>
                    <a:pt x="17195" y="41373"/>
                    <a:pt x="17356" y="41373"/>
                  </a:cubicBezTo>
                  <a:cubicBezTo>
                    <a:pt x="17639" y="41426"/>
                    <a:pt x="17904" y="41515"/>
                    <a:pt x="18134" y="41656"/>
                  </a:cubicBezTo>
                  <a:cubicBezTo>
                    <a:pt x="18505" y="41868"/>
                    <a:pt x="18911" y="42115"/>
                    <a:pt x="19194" y="42115"/>
                  </a:cubicBezTo>
                  <a:cubicBezTo>
                    <a:pt x="19477" y="42115"/>
                    <a:pt x="23276" y="41126"/>
                    <a:pt x="23329" y="40984"/>
                  </a:cubicBezTo>
                  <a:cubicBezTo>
                    <a:pt x="23471" y="40649"/>
                    <a:pt x="22888" y="39747"/>
                    <a:pt x="22729" y="39588"/>
                  </a:cubicBezTo>
                  <a:cubicBezTo>
                    <a:pt x="22569" y="39429"/>
                    <a:pt x="22340" y="38227"/>
                    <a:pt x="22375" y="38086"/>
                  </a:cubicBezTo>
                  <a:cubicBezTo>
                    <a:pt x="22587" y="37786"/>
                    <a:pt x="25521" y="37026"/>
                    <a:pt x="27288" y="36089"/>
                  </a:cubicBezTo>
                  <a:cubicBezTo>
                    <a:pt x="27023" y="35523"/>
                    <a:pt x="23665" y="31423"/>
                    <a:pt x="23117" y="30875"/>
                  </a:cubicBezTo>
                  <a:cubicBezTo>
                    <a:pt x="22676" y="30434"/>
                    <a:pt x="22587" y="28401"/>
                    <a:pt x="22746" y="27977"/>
                  </a:cubicBezTo>
                  <a:cubicBezTo>
                    <a:pt x="22799" y="27871"/>
                    <a:pt x="22870" y="27836"/>
                    <a:pt x="22923" y="27836"/>
                  </a:cubicBezTo>
                  <a:cubicBezTo>
                    <a:pt x="23064" y="27800"/>
                    <a:pt x="24178" y="27076"/>
                    <a:pt x="25150" y="26439"/>
                  </a:cubicBezTo>
                  <a:cubicBezTo>
                    <a:pt x="26617" y="25485"/>
                    <a:pt x="28260" y="24407"/>
                    <a:pt x="28773" y="24230"/>
                  </a:cubicBezTo>
                  <a:cubicBezTo>
                    <a:pt x="29303" y="24042"/>
                    <a:pt x="30469" y="23908"/>
                    <a:pt x="31298" y="23908"/>
                  </a:cubicBezTo>
                  <a:cubicBezTo>
                    <a:pt x="31712" y="23908"/>
                    <a:pt x="32042" y="23942"/>
                    <a:pt x="32166" y="24018"/>
                  </a:cubicBezTo>
                  <a:cubicBezTo>
                    <a:pt x="32025" y="23276"/>
                    <a:pt x="31282" y="20413"/>
                    <a:pt x="31106" y="19883"/>
                  </a:cubicBezTo>
                  <a:cubicBezTo>
                    <a:pt x="30893" y="19211"/>
                    <a:pt x="31229" y="17550"/>
                    <a:pt x="31371" y="16525"/>
                  </a:cubicBezTo>
                  <a:cubicBezTo>
                    <a:pt x="31441" y="15924"/>
                    <a:pt x="31512" y="15447"/>
                    <a:pt x="31512" y="15288"/>
                  </a:cubicBezTo>
                  <a:cubicBezTo>
                    <a:pt x="31512" y="14970"/>
                    <a:pt x="31035" y="14404"/>
                    <a:pt x="30434" y="13697"/>
                  </a:cubicBezTo>
                  <a:cubicBezTo>
                    <a:pt x="30222" y="13450"/>
                    <a:pt x="29992" y="13167"/>
                    <a:pt x="29957" y="13132"/>
                  </a:cubicBezTo>
                  <a:cubicBezTo>
                    <a:pt x="30063" y="12973"/>
                    <a:pt x="30169" y="12831"/>
                    <a:pt x="30293" y="12707"/>
                  </a:cubicBezTo>
                  <a:cubicBezTo>
                    <a:pt x="30664" y="12266"/>
                    <a:pt x="30947" y="11894"/>
                    <a:pt x="30947" y="11629"/>
                  </a:cubicBezTo>
                  <a:cubicBezTo>
                    <a:pt x="30947" y="11435"/>
                    <a:pt x="30770" y="10922"/>
                    <a:pt x="30487" y="10092"/>
                  </a:cubicBezTo>
                  <a:cubicBezTo>
                    <a:pt x="30240" y="9403"/>
                    <a:pt x="29957" y="8607"/>
                    <a:pt x="29957" y="8360"/>
                  </a:cubicBezTo>
                  <a:cubicBezTo>
                    <a:pt x="30045" y="7777"/>
                    <a:pt x="30151" y="7193"/>
                    <a:pt x="30310" y="6628"/>
                  </a:cubicBezTo>
                  <a:cubicBezTo>
                    <a:pt x="30169" y="6504"/>
                    <a:pt x="30010" y="6398"/>
                    <a:pt x="29851" y="6310"/>
                  </a:cubicBezTo>
                  <a:cubicBezTo>
                    <a:pt x="29742" y="6263"/>
                    <a:pt x="29641" y="6246"/>
                    <a:pt x="29544" y="6246"/>
                  </a:cubicBezTo>
                  <a:cubicBezTo>
                    <a:pt x="29304" y="6246"/>
                    <a:pt x="29085" y="6347"/>
                    <a:pt x="28829" y="6347"/>
                  </a:cubicBezTo>
                  <a:cubicBezTo>
                    <a:pt x="28680" y="6347"/>
                    <a:pt x="28517" y="6313"/>
                    <a:pt x="28331" y="6204"/>
                  </a:cubicBezTo>
                  <a:cubicBezTo>
                    <a:pt x="27695" y="5815"/>
                    <a:pt x="26952" y="4295"/>
                    <a:pt x="26475" y="4118"/>
                  </a:cubicBezTo>
                  <a:cubicBezTo>
                    <a:pt x="26382" y="4080"/>
                    <a:pt x="26289" y="4063"/>
                    <a:pt x="26196" y="4063"/>
                  </a:cubicBezTo>
                  <a:cubicBezTo>
                    <a:pt x="25809" y="4063"/>
                    <a:pt x="25424" y="4356"/>
                    <a:pt x="25097" y="4684"/>
                  </a:cubicBezTo>
                  <a:cubicBezTo>
                    <a:pt x="24620" y="5093"/>
                    <a:pt x="24011" y="5321"/>
                    <a:pt x="23382" y="5321"/>
                  </a:cubicBezTo>
                  <a:cubicBezTo>
                    <a:pt x="23359" y="5321"/>
                    <a:pt x="23335" y="5321"/>
                    <a:pt x="23312" y="5320"/>
                  </a:cubicBezTo>
                  <a:cubicBezTo>
                    <a:pt x="22605" y="5320"/>
                    <a:pt x="22764" y="5408"/>
                    <a:pt x="22428" y="6045"/>
                  </a:cubicBezTo>
                  <a:cubicBezTo>
                    <a:pt x="22287" y="6292"/>
                    <a:pt x="21963" y="6384"/>
                    <a:pt x="21585" y="6384"/>
                  </a:cubicBezTo>
                  <a:cubicBezTo>
                    <a:pt x="21018" y="6384"/>
                    <a:pt x="20332" y="6176"/>
                    <a:pt x="19972" y="5974"/>
                  </a:cubicBezTo>
                  <a:cubicBezTo>
                    <a:pt x="19388" y="5638"/>
                    <a:pt x="20537" y="4790"/>
                    <a:pt x="20855" y="4489"/>
                  </a:cubicBezTo>
                  <a:cubicBezTo>
                    <a:pt x="21156" y="4189"/>
                    <a:pt x="21969" y="4083"/>
                    <a:pt x="21969" y="3818"/>
                  </a:cubicBezTo>
                  <a:cubicBezTo>
                    <a:pt x="21969" y="3553"/>
                    <a:pt x="22181" y="3146"/>
                    <a:pt x="21156" y="2934"/>
                  </a:cubicBezTo>
                  <a:cubicBezTo>
                    <a:pt x="21057" y="2916"/>
                    <a:pt x="20970" y="2907"/>
                    <a:pt x="20891" y="2907"/>
                  </a:cubicBezTo>
                  <a:cubicBezTo>
                    <a:pt x="20139" y="2907"/>
                    <a:pt x="20245" y="3685"/>
                    <a:pt x="19989" y="3942"/>
                  </a:cubicBezTo>
                  <a:cubicBezTo>
                    <a:pt x="19941" y="3989"/>
                    <a:pt x="19871" y="4010"/>
                    <a:pt x="19785" y="4010"/>
                  </a:cubicBezTo>
                  <a:cubicBezTo>
                    <a:pt x="19391" y="4010"/>
                    <a:pt x="18661" y="3581"/>
                    <a:pt x="18169" y="3305"/>
                  </a:cubicBezTo>
                  <a:cubicBezTo>
                    <a:pt x="17550" y="2970"/>
                    <a:pt x="17480" y="2121"/>
                    <a:pt x="17621" y="1679"/>
                  </a:cubicBezTo>
                  <a:cubicBezTo>
                    <a:pt x="17497" y="1662"/>
                    <a:pt x="17356" y="1644"/>
                    <a:pt x="17215" y="1609"/>
                  </a:cubicBezTo>
                  <a:cubicBezTo>
                    <a:pt x="16225" y="1432"/>
                    <a:pt x="15412" y="1149"/>
                    <a:pt x="15147" y="884"/>
                  </a:cubicBezTo>
                  <a:cubicBezTo>
                    <a:pt x="14882" y="619"/>
                    <a:pt x="14033" y="283"/>
                    <a:pt x="13150"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1" name="Google Shape;573;p24">
              <a:extLst>
                <a:ext uri="{FF2B5EF4-FFF2-40B4-BE49-F238E27FC236}">
                  <a16:creationId xmlns:a16="http://schemas.microsoft.com/office/drawing/2014/main" id="{F9B18F38-CF1B-4F24-B596-706C316A5B79}"/>
                </a:ext>
              </a:extLst>
            </p:cNvPr>
            <p:cNvSpPr/>
            <p:nvPr/>
          </p:nvSpPr>
          <p:spPr>
            <a:xfrm>
              <a:off x="4336200" y="2892625"/>
              <a:ext cx="1591925" cy="1067825"/>
            </a:xfrm>
            <a:custGeom>
              <a:avLst/>
              <a:gdLst/>
              <a:ahLst/>
              <a:cxnLst/>
              <a:rect l="l" t="t" r="r" b="b"/>
              <a:pathLst>
                <a:path w="63677" h="42713" extrusionOk="0">
                  <a:moveTo>
                    <a:pt x="37874" y="0"/>
                  </a:moveTo>
                  <a:cubicBezTo>
                    <a:pt x="37662" y="35"/>
                    <a:pt x="36619" y="778"/>
                    <a:pt x="36372" y="1025"/>
                  </a:cubicBezTo>
                  <a:cubicBezTo>
                    <a:pt x="36301" y="1104"/>
                    <a:pt x="36128" y="1137"/>
                    <a:pt x="35863" y="1137"/>
                  </a:cubicBezTo>
                  <a:cubicBezTo>
                    <a:pt x="35533" y="1137"/>
                    <a:pt x="35061" y="1086"/>
                    <a:pt x="34463" y="1007"/>
                  </a:cubicBezTo>
                  <a:cubicBezTo>
                    <a:pt x="34339" y="990"/>
                    <a:pt x="34198" y="972"/>
                    <a:pt x="34145" y="972"/>
                  </a:cubicBezTo>
                  <a:cubicBezTo>
                    <a:pt x="33986" y="1219"/>
                    <a:pt x="33862" y="1502"/>
                    <a:pt x="33756" y="1785"/>
                  </a:cubicBezTo>
                  <a:cubicBezTo>
                    <a:pt x="33633" y="2085"/>
                    <a:pt x="33491" y="2386"/>
                    <a:pt x="33314" y="2651"/>
                  </a:cubicBezTo>
                  <a:cubicBezTo>
                    <a:pt x="33155" y="2792"/>
                    <a:pt x="32643" y="2828"/>
                    <a:pt x="32236" y="2828"/>
                  </a:cubicBezTo>
                  <a:cubicBezTo>
                    <a:pt x="32201" y="2828"/>
                    <a:pt x="31353" y="2828"/>
                    <a:pt x="31052" y="2704"/>
                  </a:cubicBezTo>
                  <a:cubicBezTo>
                    <a:pt x="30151" y="3146"/>
                    <a:pt x="28136" y="3941"/>
                    <a:pt x="28136" y="4348"/>
                  </a:cubicBezTo>
                  <a:cubicBezTo>
                    <a:pt x="28172" y="4666"/>
                    <a:pt x="28242" y="4984"/>
                    <a:pt x="28331" y="5284"/>
                  </a:cubicBezTo>
                  <a:cubicBezTo>
                    <a:pt x="28525" y="6062"/>
                    <a:pt x="28861" y="7529"/>
                    <a:pt x="28649" y="7741"/>
                  </a:cubicBezTo>
                  <a:cubicBezTo>
                    <a:pt x="28313" y="8077"/>
                    <a:pt x="28101" y="8183"/>
                    <a:pt x="27712" y="8183"/>
                  </a:cubicBezTo>
                  <a:cubicBezTo>
                    <a:pt x="27624" y="8183"/>
                    <a:pt x="27606" y="8147"/>
                    <a:pt x="27535" y="7988"/>
                  </a:cubicBezTo>
                  <a:cubicBezTo>
                    <a:pt x="27429" y="7599"/>
                    <a:pt x="27111" y="7299"/>
                    <a:pt x="26722" y="7228"/>
                  </a:cubicBezTo>
                  <a:cubicBezTo>
                    <a:pt x="26542" y="7180"/>
                    <a:pt x="26186" y="7160"/>
                    <a:pt x="25719" y="7160"/>
                  </a:cubicBezTo>
                  <a:cubicBezTo>
                    <a:pt x="24304" y="7160"/>
                    <a:pt x="21875" y="7343"/>
                    <a:pt x="20254" y="7476"/>
                  </a:cubicBezTo>
                  <a:cubicBezTo>
                    <a:pt x="19565" y="7529"/>
                    <a:pt x="19017" y="7564"/>
                    <a:pt x="18876" y="7564"/>
                  </a:cubicBezTo>
                  <a:cubicBezTo>
                    <a:pt x="18646" y="7564"/>
                    <a:pt x="18416" y="7334"/>
                    <a:pt x="18186" y="7105"/>
                  </a:cubicBezTo>
                  <a:cubicBezTo>
                    <a:pt x="17974" y="6875"/>
                    <a:pt x="17727" y="6610"/>
                    <a:pt x="17444" y="6610"/>
                  </a:cubicBezTo>
                  <a:cubicBezTo>
                    <a:pt x="17232" y="6610"/>
                    <a:pt x="15076" y="6451"/>
                    <a:pt x="13008" y="6292"/>
                  </a:cubicBezTo>
                  <a:cubicBezTo>
                    <a:pt x="10728" y="6115"/>
                    <a:pt x="8360" y="5938"/>
                    <a:pt x="8077" y="5938"/>
                  </a:cubicBezTo>
                  <a:cubicBezTo>
                    <a:pt x="7724" y="5938"/>
                    <a:pt x="7353" y="6486"/>
                    <a:pt x="6946" y="7069"/>
                  </a:cubicBezTo>
                  <a:cubicBezTo>
                    <a:pt x="6716" y="7405"/>
                    <a:pt x="6363" y="7900"/>
                    <a:pt x="6239" y="7900"/>
                  </a:cubicBezTo>
                  <a:lnTo>
                    <a:pt x="5055" y="7900"/>
                  </a:lnTo>
                  <a:cubicBezTo>
                    <a:pt x="5055" y="8218"/>
                    <a:pt x="5197" y="8342"/>
                    <a:pt x="5921" y="10516"/>
                  </a:cubicBezTo>
                  <a:cubicBezTo>
                    <a:pt x="6416" y="12035"/>
                    <a:pt x="6911" y="13732"/>
                    <a:pt x="6911" y="13979"/>
                  </a:cubicBezTo>
                  <a:cubicBezTo>
                    <a:pt x="6911" y="14227"/>
                    <a:pt x="2298" y="17850"/>
                    <a:pt x="2298" y="18115"/>
                  </a:cubicBezTo>
                  <a:cubicBezTo>
                    <a:pt x="2298" y="18380"/>
                    <a:pt x="1574" y="22038"/>
                    <a:pt x="1556" y="22356"/>
                  </a:cubicBezTo>
                  <a:cubicBezTo>
                    <a:pt x="1503" y="22569"/>
                    <a:pt x="1185" y="23187"/>
                    <a:pt x="937" y="23700"/>
                  </a:cubicBezTo>
                  <a:cubicBezTo>
                    <a:pt x="283" y="25007"/>
                    <a:pt x="1" y="25608"/>
                    <a:pt x="1" y="25909"/>
                  </a:cubicBezTo>
                  <a:cubicBezTo>
                    <a:pt x="372" y="26227"/>
                    <a:pt x="778" y="26527"/>
                    <a:pt x="1202" y="26792"/>
                  </a:cubicBezTo>
                  <a:cubicBezTo>
                    <a:pt x="1786" y="27128"/>
                    <a:pt x="2669" y="27694"/>
                    <a:pt x="2970" y="27924"/>
                  </a:cubicBezTo>
                  <a:cubicBezTo>
                    <a:pt x="3288" y="28224"/>
                    <a:pt x="9155" y="28754"/>
                    <a:pt x="10216" y="28754"/>
                  </a:cubicBezTo>
                  <a:cubicBezTo>
                    <a:pt x="10587" y="28754"/>
                    <a:pt x="12831" y="28189"/>
                    <a:pt x="13927" y="27835"/>
                  </a:cubicBezTo>
                  <a:cubicBezTo>
                    <a:pt x="14952" y="27499"/>
                    <a:pt x="15818" y="26775"/>
                    <a:pt x="15871" y="26545"/>
                  </a:cubicBezTo>
                  <a:cubicBezTo>
                    <a:pt x="15883" y="26492"/>
                    <a:pt x="15966" y="26476"/>
                    <a:pt x="16093" y="26476"/>
                  </a:cubicBezTo>
                  <a:cubicBezTo>
                    <a:pt x="16294" y="26476"/>
                    <a:pt x="16606" y="26517"/>
                    <a:pt x="16918" y="26517"/>
                  </a:cubicBezTo>
                  <a:cubicBezTo>
                    <a:pt x="17258" y="26517"/>
                    <a:pt x="17599" y="26468"/>
                    <a:pt x="17797" y="26262"/>
                  </a:cubicBezTo>
                  <a:cubicBezTo>
                    <a:pt x="18169" y="26033"/>
                    <a:pt x="19688" y="25007"/>
                    <a:pt x="20077" y="24742"/>
                  </a:cubicBezTo>
                  <a:cubicBezTo>
                    <a:pt x="20099" y="24726"/>
                    <a:pt x="20133" y="24719"/>
                    <a:pt x="20178" y="24719"/>
                  </a:cubicBezTo>
                  <a:cubicBezTo>
                    <a:pt x="20523" y="24719"/>
                    <a:pt x="21489" y="25171"/>
                    <a:pt x="22163" y="25485"/>
                  </a:cubicBezTo>
                  <a:cubicBezTo>
                    <a:pt x="22976" y="25856"/>
                    <a:pt x="23665" y="26174"/>
                    <a:pt x="23983" y="26174"/>
                  </a:cubicBezTo>
                  <a:cubicBezTo>
                    <a:pt x="24142" y="26174"/>
                    <a:pt x="24319" y="26174"/>
                    <a:pt x="24513" y="26156"/>
                  </a:cubicBezTo>
                  <a:cubicBezTo>
                    <a:pt x="24700" y="26151"/>
                    <a:pt x="24907" y="26143"/>
                    <a:pt x="25107" y="26143"/>
                  </a:cubicBezTo>
                  <a:cubicBezTo>
                    <a:pt x="25531" y="26143"/>
                    <a:pt x="25925" y="26177"/>
                    <a:pt x="26033" y="26333"/>
                  </a:cubicBezTo>
                  <a:cubicBezTo>
                    <a:pt x="26121" y="26474"/>
                    <a:pt x="26051" y="27181"/>
                    <a:pt x="25998" y="27764"/>
                  </a:cubicBezTo>
                  <a:cubicBezTo>
                    <a:pt x="25892" y="28754"/>
                    <a:pt x="25856" y="29390"/>
                    <a:pt x="26051" y="29585"/>
                  </a:cubicBezTo>
                  <a:cubicBezTo>
                    <a:pt x="26245" y="29779"/>
                    <a:pt x="26652" y="29779"/>
                    <a:pt x="27093" y="29779"/>
                  </a:cubicBezTo>
                  <a:cubicBezTo>
                    <a:pt x="27447" y="29779"/>
                    <a:pt x="27853" y="29797"/>
                    <a:pt x="27977" y="29921"/>
                  </a:cubicBezTo>
                  <a:cubicBezTo>
                    <a:pt x="28101" y="30044"/>
                    <a:pt x="28631" y="31175"/>
                    <a:pt x="29020" y="32059"/>
                  </a:cubicBezTo>
                  <a:cubicBezTo>
                    <a:pt x="29497" y="33119"/>
                    <a:pt x="29780" y="33773"/>
                    <a:pt x="29921" y="33915"/>
                  </a:cubicBezTo>
                  <a:cubicBezTo>
                    <a:pt x="29904" y="34021"/>
                    <a:pt x="29338" y="34215"/>
                    <a:pt x="29108" y="34215"/>
                  </a:cubicBezTo>
                  <a:lnTo>
                    <a:pt x="28631" y="34215"/>
                  </a:lnTo>
                  <a:cubicBezTo>
                    <a:pt x="25627" y="34215"/>
                    <a:pt x="25432" y="34392"/>
                    <a:pt x="25379" y="34463"/>
                  </a:cubicBezTo>
                  <a:cubicBezTo>
                    <a:pt x="25344" y="34480"/>
                    <a:pt x="25326" y="34516"/>
                    <a:pt x="25326" y="34569"/>
                  </a:cubicBezTo>
                  <a:cubicBezTo>
                    <a:pt x="25379" y="34922"/>
                    <a:pt x="25432" y="35276"/>
                    <a:pt x="25521" y="35629"/>
                  </a:cubicBezTo>
                  <a:cubicBezTo>
                    <a:pt x="25609" y="36035"/>
                    <a:pt x="25697" y="36513"/>
                    <a:pt x="25697" y="36636"/>
                  </a:cubicBezTo>
                  <a:cubicBezTo>
                    <a:pt x="25697" y="36760"/>
                    <a:pt x="25220" y="37290"/>
                    <a:pt x="24867" y="37679"/>
                  </a:cubicBezTo>
                  <a:cubicBezTo>
                    <a:pt x="24230" y="38404"/>
                    <a:pt x="23983" y="38722"/>
                    <a:pt x="23983" y="38881"/>
                  </a:cubicBezTo>
                  <a:cubicBezTo>
                    <a:pt x="23983" y="39128"/>
                    <a:pt x="24266" y="39393"/>
                    <a:pt x="24584" y="39676"/>
                  </a:cubicBezTo>
                  <a:cubicBezTo>
                    <a:pt x="24637" y="39729"/>
                    <a:pt x="24690" y="39765"/>
                    <a:pt x="24725" y="39800"/>
                  </a:cubicBezTo>
                  <a:cubicBezTo>
                    <a:pt x="24761" y="39835"/>
                    <a:pt x="24672" y="40242"/>
                    <a:pt x="24513" y="40595"/>
                  </a:cubicBezTo>
                  <a:cubicBezTo>
                    <a:pt x="24937" y="40825"/>
                    <a:pt x="25397" y="40984"/>
                    <a:pt x="25874" y="41072"/>
                  </a:cubicBezTo>
                  <a:cubicBezTo>
                    <a:pt x="26083" y="40895"/>
                    <a:pt x="27597" y="39619"/>
                    <a:pt x="28106" y="39619"/>
                  </a:cubicBezTo>
                  <a:cubicBezTo>
                    <a:pt x="28156" y="39619"/>
                    <a:pt x="28196" y="39632"/>
                    <a:pt x="28225" y="39658"/>
                  </a:cubicBezTo>
                  <a:cubicBezTo>
                    <a:pt x="28649" y="39906"/>
                    <a:pt x="29091" y="40100"/>
                    <a:pt x="29550" y="40259"/>
                  </a:cubicBezTo>
                  <a:cubicBezTo>
                    <a:pt x="29568" y="39906"/>
                    <a:pt x="29603" y="39641"/>
                    <a:pt x="29603" y="39552"/>
                  </a:cubicBezTo>
                  <a:cubicBezTo>
                    <a:pt x="29603" y="39464"/>
                    <a:pt x="29426" y="39234"/>
                    <a:pt x="29285" y="39058"/>
                  </a:cubicBezTo>
                  <a:cubicBezTo>
                    <a:pt x="29055" y="38792"/>
                    <a:pt x="28843" y="38527"/>
                    <a:pt x="29020" y="38368"/>
                  </a:cubicBezTo>
                  <a:cubicBezTo>
                    <a:pt x="29267" y="38192"/>
                    <a:pt x="29532" y="38050"/>
                    <a:pt x="29815" y="37962"/>
                  </a:cubicBezTo>
                  <a:cubicBezTo>
                    <a:pt x="30098" y="37856"/>
                    <a:pt x="30381" y="37714"/>
                    <a:pt x="30628" y="37555"/>
                  </a:cubicBezTo>
                  <a:cubicBezTo>
                    <a:pt x="30823" y="37361"/>
                    <a:pt x="32236" y="35028"/>
                    <a:pt x="32466" y="34586"/>
                  </a:cubicBezTo>
                  <a:cubicBezTo>
                    <a:pt x="32572" y="34321"/>
                    <a:pt x="32661" y="34038"/>
                    <a:pt x="32731" y="33756"/>
                  </a:cubicBezTo>
                  <a:cubicBezTo>
                    <a:pt x="32943" y="32996"/>
                    <a:pt x="33014" y="32731"/>
                    <a:pt x="33191" y="32731"/>
                  </a:cubicBezTo>
                  <a:cubicBezTo>
                    <a:pt x="33226" y="32731"/>
                    <a:pt x="33403" y="32713"/>
                    <a:pt x="33562" y="32695"/>
                  </a:cubicBezTo>
                  <a:cubicBezTo>
                    <a:pt x="34282" y="32608"/>
                    <a:pt x="34745" y="32568"/>
                    <a:pt x="35039" y="32568"/>
                  </a:cubicBezTo>
                  <a:cubicBezTo>
                    <a:pt x="35279" y="32568"/>
                    <a:pt x="35407" y="32595"/>
                    <a:pt x="35471" y="32642"/>
                  </a:cubicBezTo>
                  <a:cubicBezTo>
                    <a:pt x="35506" y="32678"/>
                    <a:pt x="35524" y="32713"/>
                    <a:pt x="35524" y="32748"/>
                  </a:cubicBezTo>
                  <a:cubicBezTo>
                    <a:pt x="35524" y="32996"/>
                    <a:pt x="35718" y="34021"/>
                    <a:pt x="35948" y="34250"/>
                  </a:cubicBezTo>
                  <a:cubicBezTo>
                    <a:pt x="36055" y="34344"/>
                    <a:pt x="36699" y="34387"/>
                    <a:pt x="37888" y="34387"/>
                  </a:cubicBezTo>
                  <a:cubicBezTo>
                    <a:pt x="38269" y="34387"/>
                    <a:pt x="38706" y="34383"/>
                    <a:pt x="39200" y="34374"/>
                  </a:cubicBezTo>
                  <a:lnTo>
                    <a:pt x="39553" y="34374"/>
                  </a:lnTo>
                  <a:cubicBezTo>
                    <a:pt x="39783" y="34374"/>
                    <a:pt x="40348" y="34109"/>
                    <a:pt x="40790" y="33915"/>
                  </a:cubicBezTo>
                  <a:cubicBezTo>
                    <a:pt x="41303" y="33685"/>
                    <a:pt x="41621" y="33526"/>
                    <a:pt x="41780" y="33526"/>
                  </a:cubicBezTo>
                  <a:cubicBezTo>
                    <a:pt x="42080" y="33526"/>
                    <a:pt x="43724" y="34003"/>
                    <a:pt x="43883" y="34180"/>
                  </a:cubicBezTo>
                  <a:lnTo>
                    <a:pt x="43918" y="34215"/>
                  </a:lnTo>
                  <a:lnTo>
                    <a:pt x="43918" y="34286"/>
                  </a:lnTo>
                  <a:cubicBezTo>
                    <a:pt x="43918" y="34445"/>
                    <a:pt x="43636" y="34692"/>
                    <a:pt x="42823" y="35399"/>
                  </a:cubicBezTo>
                  <a:cubicBezTo>
                    <a:pt x="42575" y="35594"/>
                    <a:pt x="42363" y="35788"/>
                    <a:pt x="42257" y="35894"/>
                  </a:cubicBezTo>
                  <a:cubicBezTo>
                    <a:pt x="41815" y="36336"/>
                    <a:pt x="40136" y="38156"/>
                    <a:pt x="39906" y="38563"/>
                  </a:cubicBezTo>
                  <a:cubicBezTo>
                    <a:pt x="40066" y="38598"/>
                    <a:pt x="40543" y="38616"/>
                    <a:pt x="40896" y="38633"/>
                  </a:cubicBezTo>
                  <a:cubicBezTo>
                    <a:pt x="41815" y="38669"/>
                    <a:pt x="42116" y="38704"/>
                    <a:pt x="42222" y="38792"/>
                  </a:cubicBezTo>
                  <a:cubicBezTo>
                    <a:pt x="42292" y="38881"/>
                    <a:pt x="42345" y="38952"/>
                    <a:pt x="42398" y="39058"/>
                  </a:cubicBezTo>
                  <a:cubicBezTo>
                    <a:pt x="42469" y="39181"/>
                    <a:pt x="42557" y="39340"/>
                    <a:pt x="42646" y="39340"/>
                  </a:cubicBezTo>
                  <a:cubicBezTo>
                    <a:pt x="42770" y="39340"/>
                    <a:pt x="44272" y="39499"/>
                    <a:pt x="44272" y="39994"/>
                  </a:cubicBezTo>
                  <a:cubicBezTo>
                    <a:pt x="44272" y="40560"/>
                    <a:pt x="44360" y="42504"/>
                    <a:pt x="44466" y="42698"/>
                  </a:cubicBezTo>
                  <a:cubicBezTo>
                    <a:pt x="44494" y="42709"/>
                    <a:pt x="44560" y="42713"/>
                    <a:pt x="44653" y="42713"/>
                  </a:cubicBezTo>
                  <a:cubicBezTo>
                    <a:pt x="45039" y="42713"/>
                    <a:pt x="45881" y="42638"/>
                    <a:pt x="46251" y="42610"/>
                  </a:cubicBezTo>
                  <a:cubicBezTo>
                    <a:pt x="46463" y="42592"/>
                    <a:pt x="46622" y="42575"/>
                    <a:pt x="46675" y="42575"/>
                  </a:cubicBezTo>
                  <a:cubicBezTo>
                    <a:pt x="46746" y="42539"/>
                    <a:pt x="47258" y="41921"/>
                    <a:pt x="47647" y="41408"/>
                  </a:cubicBezTo>
                  <a:cubicBezTo>
                    <a:pt x="48549" y="40277"/>
                    <a:pt x="48849" y="39959"/>
                    <a:pt x="49008" y="39959"/>
                  </a:cubicBezTo>
                  <a:lnTo>
                    <a:pt x="49061" y="39959"/>
                  </a:lnTo>
                  <a:cubicBezTo>
                    <a:pt x="50210" y="39959"/>
                    <a:pt x="50422" y="39888"/>
                    <a:pt x="50475" y="39871"/>
                  </a:cubicBezTo>
                  <a:cubicBezTo>
                    <a:pt x="50510" y="39835"/>
                    <a:pt x="50652" y="39605"/>
                    <a:pt x="50793" y="39376"/>
                  </a:cubicBezTo>
                  <a:cubicBezTo>
                    <a:pt x="51571" y="38192"/>
                    <a:pt x="51818" y="37891"/>
                    <a:pt x="51977" y="37891"/>
                  </a:cubicBezTo>
                  <a:lnTo>
                    <a:pt x="52790" y="37909"/>
                  </a:lnTo>
                  <a:cubicBezTo>
                    <a:pt x="53267" y="37927"/>
                    <a:pt x="53815" y="37944"/>
                    <a:pt x="53992" y="37944"/>
                  </a:cubicBezTo>
                  <a:cubicBezTo>
                    <a:pt x="54080" y="37944"/>
                    <a:pt x="54328" y="37679"/>
                    <a:pt x="54522" y="37467"/>
                  </a:cubicBezTo>
                  <a:lnTo>
                    <a:pt x="54593" y="37414"/>
                  </a:lnTo>
                  <a:cubicBezTo>
                    <a:pt x="54787" y="37184"/>
                    <a:pt x="54999" y="36972"/>
                    <a:pt x="55247" y="36795"/>
                  </a:cubicBezTo>
                  <a:lnTo>
                    <a:pt x="55247" y="35028"/>
                  </a:lnTo>
                  <a:cubicBezTo>
                    <a:pt x="54781" y="35000"/>
                    <a:pt x="54335" y="34977"/>
                    <a:pt x="53999" y="34977"/>
                  </a:cubicBezTo>
                  <a:cubicBezTo>
                    <a:pt x="53697" y="34977"/>
                    <a:pt x="53485" y="34996"/>
                    <a:pt x="53426" y="35046"/>
                  </a:cubicBezTo>
                  <a:cubicBezTo>
                    <a:pt x="53108" y="35364"/>
                    <a:pt x="51111" y="36336"/>
                    <a:pt x="50864" y="36336"/>
                  </a:cubicBezTo>
                  <a:lnTo>
                    <a:pt x="50811" y="36336"/>
                  </a:lnTo>
                  <a:lnTo>
                    <a:pt x="50793" y="36301"/>
                  </a:lnTo>
                  <a:cubicBezTo>
                    <a:pt x="49998" y="35399"/>
                    <a:pt x="48177" y="33243"/>
                    <a:pt x="48177" y="32960"/>
                  </a:cubicBezTo>
                  <a:cubicBezTo>
                    <a:pt x="48177" y="32607"/>
                    <a:pt x="51412" y="29090"/>
                    <a:pt x="51429" y="29055"/>
                  </a:cubicBezTo>
                  <a:cubicBezTo>
                    <a:pt x="51506" y="28978"/>
                    <a:pt x="51666" y="28948"/>
                    <a:pt x="51929" y="28948"/>
                  </a:cubicBezTo>
                  <a:cubicBezTo>
                    <a:pt x="52151" y="28948"/>
                    <a:pt x="52446" y="28969"/>
                    <a:pt x="52826" y="29002"/>
                  </a:cubicBezTo>
                  <a:cubicBezTo>
                    <a:pt x="53016" y="29035"/>
                    <a:pt x="53199" y="29048"/>
                    <a:pt x="53385" y="29048"/>
                  </a:cubicBezTo>
                  <a:cubicBezTo>
                    <a:pt x="53492" y="29048"/>
                    <a:pt x="53599" y="29043"/>
                    <a:pt x="53709" y="29037"/>
                  </a:cubicBezTo>
                  <a:lnTo>
                    <a:pt x="54027" y="28701"/>
                  </a:lnTo>
                  <a:cubicBezTo>
                    <a:pt x="56395" y="26015"/>
                    <a:pt x="57014" y="25485"/>
                    <a:pt x="57208" y="25485"/>
                  </a:cubicBezTo>
                  <a:cubicBezTo>
                    <a:pt x="57756" y="25485"/>
                    <a:pt x="58269" y="25467"/>
                    <a:pt x="58658" y="25432"/>
                  </a:cubicBezTo>
                  <a:lnTo>
                    <a:pt x="58658" y="22286"/>
                  </a:lnTo>
                  <a:cubicBezTo>
                    <a:pt x="58658" y="21968"/>
                    <a:pt x="60390" y="20147"/>
                    <a:pt x="60407" y="20130"/>
                  </a:cubicBezTo>
                  <a:cubicBezTo>
                    <a:pt x="60513" y="20006"/>
                    <a:pt x="60973" y="19918"/>
                    <a:pt x="61980" y="19741"/>
                  </a:cubicBezTo>
                  <a:cubicBezTo>
                    <a:pt x="62599" y="19635"/>
                    <a:pt x="63518" y="19476"/>
                    <a:pt x="63677" y="19352"/>
                  </a:cubicBezTo>
                  <a:cubicBezTo>
                    <a:pt x="63641" y="19052"/>
                    <a:pt x="63253" y="17002"/>
                    <a:pt x="62970" y="15605"/>
                  </a:cubicBezTo>
                  <a:cubicBezTo>
                    <a:pt x="62687" y="15464"/>
                    <a:pt x="61556" y="14863"/>
                    <a:pt x="61556" y="14262"/>
                  </a:cubicBezTo>
                  <a:cubicBezTo>
                    <a:pt x="61627" y="13750"/>
                    <a:pt x="61733" y="13255"/>
                    <a:pt x="61909" y="12778"/>
                  </a:cubicBezTo>
                  <a:cubicBezTo>
                    <a:pt x="62122" y="12018"/>
                    <a:pt x="62475" y="10781"/>
                    <a:pt x="62351" y="10622"/>
                  </a:cubicBezTo>
                  <a:cubicBezTo>
                    <a:pt x="62051" y="10374"/>
                    <a:pt x="57527" y="10109"/>
                    <a:pt x="56996" y="10109"/>
                  </a:cubicBezTo>
                  <a:cubicBezTo>
                    <a:pt x="56749" y="10109"/>
                    <a:pt x="56272" y="9667"/>
                    <a:pt x="55512" y="8872"/>
                  </a:cubicBezTo>
                  <a:cubicBezTo>
                    <a:pt x="55423" y="8784"/>
                    <a:pt x="55335" y="8695"/>
                    <a:pt x="55264" y="8624"/>
                  </a:cubicBezTo>
                  <a:cubicBezTo>
                    <a:pt x="54982" y="8342"/>
                    <a:pt x="52914" y="8253"/>
                    <a:pt x="52384" y="8253"/>
                  </a:cubicBezTo>
                  <a:cubicBezTo>
                    <a:pt x="52172" y="8289"/>
                    <a:pt x="50864" y="9314"/>
                    <a:pt x="50546" y="9632"/>
                  </a:cubicBezTo>
                  <a:cubicBezTo>
                    <a:pt x="50436" y="9741"/>
                    <a:pt x="49964" y="9772"/>
                    <a:pt x="49433" y="9772"/>
                  </a:cubicBezTo>
                  <a:cubicBezTo>
                    <a:pt x="49020" y="9772"/>
                    <a:pt x="48571" y="9753"/>
                    <a:pt x="48231" y="9738"/>
                  </a:cubicBezTo>
                  <a:cubicBezTo>
                    <a:pt x="47895" y="9720"/>
                    <a:pt x="46163" y="9597"/>
                    <a:pt x="45951" y="9402"/>
                  </a:cubicBezTo>
                  <a:cubicBezTo>
                    <a:pt x="45562" y="8837"/>
                    <a:pt x="45208" y="8253"/>
                    <a:pt x="44873" y="7652"/>
                  </a:cubicBezTo>
                  <a:cubicBezTo>
                    <a:pt x="44395" y="6857"/>
                    <a:pt x="43865" y="5938"/>
                    <a:pt x="43742" y="5832"/>
                  </a:cubicBezTo>
                  <a:cubicBezTo>
                    <a:pt x="43695" y="5786"/>
                    <a:pt x="43527" y="5769"/>
                    <a:pt x="43302" y="5769"/>
                  </a:cubicBezTo>
                  <a:cubicBezTo>
                    <a:pt x="42923" y="5769"/>
                    <a:pt x="42387" y="5817"/>
                    <a:pt x="42010" y="5850"/>
                  </a:cubicBezTo>
                  <a:cubicBezTo>
                    <a:pt x="41501" y="5883"/>
                    <a:pt x="41165" y="5901"/>
                    <a:pt x="40941" y="5901"/>
                  </a:cubicBezTo>
                  <a:cubicBezTo>
                    <a:pt x="40691" y="5901"/>
                    <a:pt x="40581" y="5879"/>
                    <a:pt x="40525" y="5832"/>
                  </a:cubicBezTo>
                  <a:cubicBezTo>
                    <a:pt x="40331" y="5638"/>
                    <a:pt x="39818" y="4577"/>
                    <a:pt x="39818" y="4171"/>
                  </a:cubicBezTo>
                  <a:cubicBezTo>
                    <a:pt x="39871" y="3817"/>
                    <a:pt x="39960" y="3482"/>
                    <a:pt x="40101" y="3164"/>
                  </a:cubicBezTo>
                  <a:cubicBezTo>
                    <a:pt x="40189" y="2916"/>
                    <a:pt x="40260" y="2686"/>
                    <a:pt x="40313" y="2439"/>
                  </a:cubicBezTo>
                  <a:cubicBezTo>
                    <a:pt x="40278" y="2333"/>
                    <a:pt x="39871" y="1856"/>
                    <a:pt x="38086" y="194"/>
                  </a:cubicBezTo>
                  <a:cubicBezTo>
                    <a:pt x="37980" y="106"/>
                    <a:pt x="37909" y="35"/>
                    <a:pt x="37874" y="0"/>
                  </a:cubicBezTo>
                  <a:close/>
                </a:path>
              </a:pathLst>
            </a:custGeom>
            <a:solidFill>
              <a:schemeClr val="accent3">
                <a:lumMod val="75000"/>
              </a:schemeClr>
            </a:solid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2" name="Google Shape;574;p24">
              <a:extLst>
                <a:ext uri="{FF2B5EF4-FFF2-40B4-BE49-F238E27FC236}">
                  <a16:creationId xmlns:a16="http://schemas.microsoft.com/office/drawing/2014/main" id="{B1B9CE04-A978-4B3E-A892-575005D1BC97}"/>
                </a:ext>
              </a:extLst>
            </p:cNvPr>
            <p:cNvSpPr/>
            <p:nvPr/>
          </p:nvSpPr>
          <p:spPr>
            <a:xfrm>
              <a:off x="4211600" y="2215700"/>
              <a:ext cx="556300" cy="322600"/>
            </a:xfrm>
            <a:custGeom>
              <a:avLst/>
              <a:gdLst/>
              <a:ahLst/>
              <a:cxnLst/>
              <a:rect l="l" t="t" r="r" b="b"/>
              <a:pathLst>
                <a:path w="22252" h="12904" extrusionOk="0">
                  <a:moveTo>
                    <a:pt x="11660" y="0"/>
                  </a:moveTo>
                  <a:cubicBezTo>
                    <a:pt x="11056" y="0"/>
                    <a:pt x="10085" y="219"/>
                    <a:pt x="9244" y="603"/>
                  </a:cubicBezTo>
                  <a:cubicBezTo>
                    <a:pt x="9138" y="1027"/>
                    <a:pt x="9456" y="1999"/>
                    <a:pt x="9633" y="2388"/>
                  </a:cubicBezTo>
                  <a:cubicBezTo>
                    <a:pt x="9792" y="2794"/>
                    <a:pt x="10075" y="3112"/>
                    <a:pt x="9986" y="3413"/>
                  </a:cubicBezTo>
                  <a:cubicBezTo>
                    <a:pt x="9910" y="3630"/>
                    <a:pt x="8453" y="3994"/>
                    <a:pt x="7455" y="3994"/>
                  </a:cubicBezTo>
                  <a:cubicBezTo>
                    <a:pt x="7070" y="3994"/>
                    <a:pt x="6753" y="3939"/>
                    <a:pt x="6611" y="3802"/>
                  </a:cubicBezTo>
                  <a:cubicBezTo>
                    <a:pt x="6098" y="3307"/>
                    <a:pt x="5161" y="1645"/>
                    <a:pt x="4879" y="1363"/>
                  </a:cubicBezTo>
                  <a:cubicBezTo>
                    <a:pt x="4858" y="1342"/>
                    <a:pt x="4825" y="1333"/>
                    <a:pt x="4780" y="1333"/>
                  </a:cubicBezTo>
                  <a:cubicBezTo>
                    <a:pt x="4201" y="1333"/>
                    <a:pt x="1735" y="2917"/>
                    <a:pt x="1538" y="3130"/>
                  </a:cubicBezTo>
                  <a:cubicBezTo>
                    <a:pt x="1326" y="3342"/>
                    <a:pt x="1220" y="5463"/>
                    <a:pt x="1220" y="5834"/>
                  </a:cubicBezTo>
                  <a:cubicBezTo>
                    <a:pt x="1220" y="6223"/>
                    <a:pt x="372" y="6735"/>
                    <a:pt x="231" y="6877"/>
                  </a:cubicBezTo>
                  <a:cubicBezTo>
                    <a:pt x="72" y="7036"/>
                    <a:pt x="1" y="9775"/>
                    <a:pt x="1" y="10694"/>
                  </a:cubicBezTo>
                  <a:lnTo>
                    <a:pt x="1" y="10835"/>
                  </a:lnTo>
                  <a:cubicBezTo>
                    <a:pt x="1097" y="10129"/>
                    <a:pt x="2829" y="9103"/>
                    <a:pt x="3182" y="9103"/>
                  </a:cubicBezTo>
                  <a:cubicBezTo>
                    <a:pt x="3641" y="9103"/>
                    <a:pt x="9880" y="9704"/>
                    <a:pt x="10145" y="9740"/>
                  </a:cubicBezTo>
                  <a:cubicBezTo>
                    <a:pt x="10216" y="9704"/>
                    <a:pt x="10605" y="9369"/>
                    <a:pt x="11241" y="8715"/>
                  </a:cubicBezTo>
                  <a:lnTo>
                    <a:pt x="11365" y="8591"/>
                  </a:lnTo>
                  <a:cubicBezTo>
                    <a:pt x="11418" y="8538"/>
                    <a:pt x="11471" y="8520"/>
                    <a:pt x="11541" y="8520"/>
                  </a:cubicBezTo>
                  <a:cubicBezTo>
                    <a:pt x="11700" y="8556"/>
                    <a:pt x="11806" y="8768"/>
                    <a:pt x="11983" y="9121"/>
                  </a:cubicBezTo>
                  <a:cubicBezTo>
                    <a:pt x="12089" y="9351"/>
                    <a:pt x="12213" y="9563"/>
                    <a:pt x="12372" y="9775"/>
                  </a:cubicBezTo>
                  <a:cubicBezTo>
                    <a:pt x="12494" y="9887"/>
                    <a:pt x="12593" y="9923"/>
                    <a:pt x="12709" y="9923"/>
                  </a:cubicBezTo>
                  <a:cubicBezTo>
                    <a:pt x="12794" y="9923"/>
                    <a:pt x="12888" y="9904"/>
                    <a:pt x="13008" y="9881"/>
                  </a:cubicBezTo>
                  <a:cubicBezTo>
                    <a:pt x="13167" y="9846"/>
                    <a:pt x="13344" y="9828"/>
                    <a:pt x="13521" y="9828"/>
                  </a:cubicBezTo>
                  <a:cubicBezTo>
                    <a:pt x="13857" y="9828"/>
                    <a:pt x="14634" y="10535"/>
                    <a:pt x="15783" y="11613"/>
                  </a:cubicBezTo>
                  <a:cubicBezTo>
                    <a:pt x="16366" y="12161"/>
                    <a:pt x="17073" y="12832"/>
                    <a:pt x="17285" y="12903"/>
                  </a:cubicBezTo>
                  <a:cubicBezTo>
                    <a:pt x="17497" y="12656"/>
                    <a:pt x="17727" y="11737"/>
                    <a:pt x="17904" y="11525"/>
                  </a:cubicBezTo>
                  <a:cubicBezTo>
                    <a:pt x="17974" y="11436"/>
                    <a:pt x="19777" y="11472"/>
                    <a:pt x="19918" y="11330"/>
                  </a:cubicBezTo>
                  <a:cubicBezTo>
                    <a:pt x="20042" y="11207"/>
                    <a:pt x="20237" y="10093"/>
                    <a:pt x="20449" y="9881"/>
                  </a:cubicBezTo>
                  <a:cubicBezTo>
                    <a:pt x="20537" y="9810"/>
                    <a:pt x="20890" y="9581"/>
                    <a:pt x="22110" y="9492"/>
                  </a:cubicBezTo>
                  <a:cubicBezTo>
                    <a:pt x="22004" y="9174"/>
                    <a:pt x="22004" y="8838"/>
                    <a:pt x="22092" y="8503"/>
                  </a:cubicBezTo>
                  <a:cubicBezTo>
                    <a:pt x="22163" y="8291"/>
                    <a:pt x="22216" y="8061"/>
                    <a:pt x="22251" y="7849"/>
                  </a:cubicBezTo>
                  <a:cubicBezTo>
                    <a:pt x="22234" y="7672"/>
                    <a:pt x="21421" y="6912"/>
                    <a:pt x="20926" y="6453"/>
                  </a:cubicBezTo>
                  <a:cubicBezTo>
                    <a:pt x="20130" y="5728"/>
                    <a:pt x="19936" y="5534"/>
                    <a:pt x="19936" y="5392"/>
                  </a:cubicBezTo>
                  <a:lnTo>
                    <a:pt x="19936" y="3095"/>
                  </a:lnTo>
                  <a:cubicBezTo>
                    <a:pt x="19936" y="2776"/>
                    <a:pt x="19388" y="2264"/>
                    <a:pt x="19141" y="2070"/>
                  </a:cubicBezTo>
                  <a:cubicBezTo>
                    <a:pt x="18911" y="2087"/>
                    <a:pt x="16348" y="2458"/>
                    <a:pt x="16013" y="2458"/>
                  </a:cubicBezTo>
                  <a:cubicBezTo>
                    <a:pt x="15677" y="2458"/>
                    <a:pt x="12619" y="550"/>
                    <a:pt x="12195" y="126"/>
                  </a:cubicBezTo>
                  <a:cubicBezTo>
                    <a:pt x="12110" y="41"/>
                    <a:pt x="11919" y="0"/>
                    <a:pt x="11660"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3" name="Google Shape;575;p24">
              <a:extLst>
                <a:ext uri="{FF2B5EF4-FFF2-40B4-BE49-F238E27FC236}">
                  <a16:creationId xmlns:a16="http://schemas.microsoft.com/office/drawing/2014/main" id="{DF440187-4C31-4DBF-87CE-23A87B8D5F71}"/>
                </a:ext>
              </a:extLst>
            </p:cNvPr>
            <p:cNvSpPr/>
            <p:nvPr/>
          </p:nvSpPr>
          <p:spPr>
            <a:xfrm>
              <a:off x="4180250" y="4367875"/>
              <a:ext cx="277050" cy="198400"/>
            </a:xfrm>
            <a:custGeom>
              <a:avLst/>
              <a:gdLst/>
              <a:ahLst/>
              <a:cxnLst/>
              <a:rect l="l" t="t" r="r" b="b"/>
              <a:pathLst>
                <a:path w="11082" h="7936" extrusionOk="0">
                  <a:moveTo>
                    <a:pt x="7493" y="1"/>
                  </a:moveTo>
                  <a:lnTo>
                    <a:pt x="7440" y="18"/>
                  </a:lnTo>
                  <a:cubicBezTo>
                    <a:pt x="6787" y="177"/>
                    <a:pt x="5143" y="548"/>
                    <a:pt x="4560" y="637"/>
                  </a:cubicBezTo>
                  <a:cubicBezTo>
                    <a:pt x="4435" y="637"/>
                    <a:pt x="4266" y="690"/>
                    <a:pt x="4140" y="690"/>
                  </a:cubicBezTo>
                  <a:cubicBezTo>
                    <a:pt x="4088" y="690"/>
                    <a:pt x="4043" y="680"/>
                    <a:pt x="4012" y="654"/>
                  </a:cubicBezTo>
                  <a:cubicBezTo>
                    <a:pt x="3931" y="574"/>
                    <a:pt x="3856" y="499"/>
                    <a:pt x="3714" y="499"/>
                  </a:cubicBezTo>
                  <a:cubicBezTo>
                    <a:pt x="3608" y="499"/>
                    <a:pt x="3464" y="541"/>
                    <a:pt x="3252" y="654"/>
                  </a:cubicBezTo>
                  <a:cubicBezTo>
                    <a:pt x="2262" y="1185"/>
                    <a:pt x="1096" y="1945"/>
                    <a:pt x="1043" y="2139"/>
                  </a:cubicBezTo>
                  <a:cubicBezTo>
                    <a:pt x="1025" y="2316"/>
                    <a:pt x="972" y="2475"/>
                    <a:pt x="884" y="2634"/>
                  </a:cubicBezTo>
                  <a:cubicBezTo>
                    <a:pt x="884" y="2687"/>
                    <a:pt x="901" y="2722"/>
                    <a:pt x="919" y="2758"/>
                  </a:cubicBezTo>
                  <a:cubicBezTo>
                    <a:pt x="795" y="3058"/>
                    <a:pt x="0" y="4702"/>
                    <a:pt x="0" y="4808"/>
                  </a:cubicBezTo>
                  <a:cubicBezTo>
                    <a:pt x="0" y="4878"/>
                    <a:pt x="689" y="5921"/>
                    <a:pt x="1255" y="6769"/>
                  </a:cubicBezTo>
                  <a:cubicBezTo>
                    <a:pt x="1502" y="7123"/>
                    <a:pt x="1750" y="7494"/>
                    <a:pt x="1962" y="7865"/>
                  </a:cubicBezTo>
                  <a:cubicBezTo>
                    <a:pt x="1979" y="7883"/>
                    <a:pt x="1997" y="7900"/>
                    <a:pt x="1997" y="7936"/>
                  </a:cubicBezTo>
                  <a:cubicBezTo>
                    <a:pt x="2527" y="7847"/>
                    <a:pt x="5320" y="7441"/>
                    <a:pt x="5655" y="7441"/>
                  </a:cubicBezTo>
                  <a:cubicBezTo>
                    <a:pt x="5814" y="7441"/>
                    <a:pt x="6044" y="6928"/>
                    <a:pt x="6168" y="6663"/>
                  </a:cubicBezTo>
                  <a:cubicBezTo>
                    <a:pt x="6345" y="6292"/>
                    <a:pt x="6415" y="6133"/>
                    <a:pt x="6539" y="6133"/>
                  </a:cubicBezTo>
                  <a:lnTo>
                    <a:pt x="6840" y="6151"/>
                  </a:lnTo>
                  <a:cubicBezTo>
                    <a:pt x="7564" y="6195"/>
                    <a:pt x="8121" y="6217"/>
                    <a:pt x="8512" y="6217"/>
                  </a:cubicBezTo>
                  <a:cubicBezTo>
                    <a:pt x="8903" y="6217"/>
                    <a:pt x="9128" y="6195"/>
                    <a:pt x="9190" y="6151"/>
                  </a:cubicBezTo>
                  <a:cubicBezTo>
                    <a:pt x="9349" y="6009"/>
                    <a:pt x="10745" y="4914"/>
                    <a:pt x="11081" y="4649"/>
                  </a:cubicBezTo>
                  <a:cubicBezTo>
                    <a:pt x="10922" y="4472"/>
                    <a:pt x="9968" y="1856"/>
                    <a:pt x="9968" y="1573"/>
                  </a:cubicBezTo>
                  <a:cubicBezTo>
                    <a:pt x="9968" y="1326"/>
                    <a:pt x="8960" y="1591"/>
                    <a:pt x="8554" y="1185"/>
                  </a:cubicBezTo>
                  <a:lnTo>
                    <a:pt x="7493" y="1"/>
                  </a:ln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4" name="Google Shape;576;p24">
              <a:extLst>
                <a:ext uri="{FF2B5EF4-FFF2-40B4-BE49-F238E27FC236}">
                  <a16:creationId xmlns:a16="http://schemas.microsoft.com/office/drawing/2014/main" id="{7BE00952-C221-4548-841B-054FB572592F}"/>
                </a:ext>
              </a:extLst>
            </p:cNvPr>
            <p:cNvSpPr/>
            <p:nvPr/>
          </p:nvSpPr>
          <p:spPr>
            <a:xfrm>
              <a:off x="4416175" y="2453000"/>
              <a:ext cx="747150" cy="644200"/>
            </a:xfrm>
            <a:custGeom>
              <a:avLst/>
              <a:gdLst/>
              <a:ahLst/>
              <a:cxnLst/>
              <a:rect l="l" t="t" r="r" b="b"/>
              <a:pathLst>
                <a:path w="29886" h="25768" extrusionOk="0">
                  <a:moveTo>
                    <a:pt x="13927" y="0"/>
                  </a:moveTo>
                  <a:cubicBezTo>
                    <a:pt x="12690" y="89"/>
                    <a:pt x="12336" y="318"/>
                    <a:pt x="12266" y="407"/>
                  </a:cubicBezTo>
                  <a:cubicBezTo>
                    <a:pt x="12054" y="601"/>
                    <a:pt x="11859" y="1715"/>
                    <a:pt x="11718" y="1838"/>
                  </a:cubicBezTo>
                  <a:cubicBezTo>
                    <a:pt x="11594" y="1980"/>
                    <a:pt x="9791" y="1944"/>
                    <a:pt x="9721" y="2033"/>
                  </a:cubicBezTo>
                  <a:cubicBezTo>
                    <a:pt x="9544" y="2262"/>
                    <a:pt x="9314" y="3164"/>
                    <a:pt x="9084" y="3411"/>
                  </a:cubicBezTo>
                  <a:cubicBezTo>
                    <a:pt x="9314" y="3641"/>
                    <a:pt x="9668" y="5178"/>
                    <a:pt x="9226" y="5620"/>
                  </a:cubicBezTo>
                  <a:lnTo>
                    <a:pt x="8148" y="6698"/>
                  </a:lnTo>
                  <a:cubicBezTo>
                    <a:pt x="7847" y="6999"/>
                    <a:pt x="7671" y="7423"/>
                    <a:pt x="7706" y="7865"/>
                  </a:cubicBezTo>
                  <a:cubicBezTo>
                    <a:pt x="7759" y="8342"/>
                    <a:pt x="7724" y="8819"/>
                    <a:pt x="7600" y="9279"/>
                  </a:cubicBezTo>
                  <a:cubicBezTo>
                    <a:pt x="7406" y="9915"/>
                    <a:pt x="6504" y="10569"/>
                    <a:pt x="5744" y="11081"/>
                  </a:cubicBezTo>
                  <a:cubicBezTo>
                    <a:pt x="5479" y="11258"/>
                    <a:pt x="5232" y="11452"/>
                    <a:pt x="5002" y="11665"/>
                  </a:cubicBezTo>
                  <a:cubicBezTo>
                    <a:pt x="4772" y="11912"/>
                    <a:pt x="4595" y="12212"/>
                    <a:pt x="4507" y="12548"/>
                  </a:cubicBezTo>
                  <a:cubicBezTo>
                    <a:pt x="4472" y="12725"/>
                    <a:pt x="4383" y="12884"/>
                    <a:pt x="4277" y="13025"/>
                  </a:cubicBezTo>
                  <a:cubicBezTo>
                    <a:pt x="4083" y="13202"/>
                    <a:pt x="2386" y="13343"/>
                    <a:pt x="1202" y="13432"/>
                  </a:cubicBezTo>
                  <a:cubicBezTo>
                    <a:pt x="1945" y="13432"/>
                    <a:pt x="2351" y="18893"/>
                    <a:pt x="2351" y="19458"/>
                  </a:cubicBezTo>
                  <a:cubicBezTo>
                    <a:pt x="2351" y="19706"/>
                    <a:pt x="0" y="21880"/>
                    <a:pt x="0" y="22074"/>
                  </a:cubicBezTo>
                  <a:cubicBezTo>
                    <a:pt x="0" y="22251"/>
                    <a:pt x="831" y="22799"/>
                    <a:pt x="1238" y="23134"/>
                  </a:cubicBezTo>
                  <a:cubicBezTo>
                    <a:pt x="1626" y="23488"/>
                    <a:pt x="1821" y="25184"/>
                    <a:pt x="1821" y="25485"/>
                  </a:cubicBezTo>
                  <a:lnTo>
                    <a:pt x="3023" y="25485"/>
                  </a:lnTo>
                  <a:cubicBezTo>
                    <a:pt x="3146" y="25485"/>
                    <a:pt x="3500" y="24990"/>
                    <a:pt x="3730" y="24654"/>
                  </a:cubicBezTo>
                  <a:cubicBezTo>
                    <a:pt x="4118" y="24071"/>
                    <a:pt x="4507" y="23523"/>
                    <a:pt x="4843" y="23523"/>
                  </a:cubicBezTo>
                  <a:cubicBezTo>
                    <a:pt x="5143" y="23523"/>
                    <a:pt x="7494" y="23700"/>
                    <a:pt x="9791" y="23877"/>
                  </a:cubicBezTo>
                  <a:cubicBezTo>
                    <a:pt x="11859" y="24036"/>
                    <a:pt x="13998" y="24212"/>
                    <a:pt x="14227" y="24212"/>
                  </a:cubicBezTo>
                  <a:cubicBezTo>
                    <a:pt x="14510" y="24212"/>
                    <a:pt x="14722" y="24442"/>
                    <a:pt x="14970" y="24690"/>
                  </a:cubicBezTo>
                  <a:cubicBezTo>
                    <a:pt x="15217" y="24937"/>
                    <a:pt x="15411" y="25149"/>
                    <a:pt x="15659" y="25149"/>
                  </a:cubicBezTo>
                  <a:cubicBezTo>
                    <a:pt x="15783" y="25149"/>
                    <a:pt x="16348" y="25114"/>
                    <a:pt x="17037" y="25061"/>
                  </a:cubicBezTo>
                  <a:cubicBezTo>
                    <a:pt x="18663" y="24940"/>
                    <a:pt x="21135" y="24747"/>
                    <a:pt x="22539" y="24747"/>
                  </a:cubicBezTo>
                  <a:cubicBezTo>
                    <a:pt x="22982" y="24747"/>
                    <a:pt x="23318" y="24767"/>
                    <a:pt x="23488" y="24813"/>
                  </a:cubicBezTo>
                  <a:cubicBezTo>
                    <a:pt x="23894" y="24902"/>
                    <a:pt x="24213" y="25184"/>
                    <a:pt x="24319" y="25573"/>
                  </a:cubicBezTo>
                  <a:cubicBezTo>
                    <a:pt x="24389" y="25750"/>
                    <a:pt x="24407" y="25768"/>
                    <a:pt x="24478" y="25768"/>
                  </a:cubicBezTo>
                  <a:cubicBezTo>
                    <a:pt x="24867" y="25768"/>
                    <a:pt x="25079" y="25662"/>
                    <a:pt x="25432" y="25326"/>
                  </a:cubicBezTo>
                  <a:cubicBezTo>
                    <a:pt x="25644" y="25096"/>
                    <a:pt x="25291" y="23665"/>
                    <a:pt x="25114" y="22869"/>
                  </a:cubicBezTo>
                  <a:cubicBezTo>
                    <a:pt x="25026" y="22569"/>
                    <a:pt x="24955" y="22251"/>
                    <a:pt x="24920" y="21933"/>
                  </a:cubicBezTo>
                  <a:cubicBezTo>
                    <a:pt x="24920" y="21526"/>
                    <a:pt x="26934" y="20749"/>
                    <a:pt x="27836" y="20289"/>
                  </a:cubicBezTo>
                  <a:cubicBezTo>
                    <a:pt x="27553" y="19688"/>
                    <a:pt x="26475" y="16931"/>
                    <a:pt x="25962" y="15358"/>
                  </a:cubicBezTo>
                  <a:lnTo>
                    <a:pt x="25927" y="15270"/>
                  </a:lnTo>
                  <a:cubicBezTo>
                    <a:pt x="25821" y="14969"/>
                    <a:pt x="25732" y="14634"/>
                    <a:pt x="25679" y="14315"/>
                  </a:cubicBezTo>
                  <a:cubicBezTo>
                    <a:pt x="25679" y="14262"/>
                    <a:pt x="25697" y="14209"/>
                    <a:pt x="25715" y="14174"/>
                  </a:cubicBezTo>
                  <a:cubicBezTo>
                    <a:pt x="25766" y="14123"/>
                    <a:pt x="25867" y="14100"/>
                    <a:pt x="26027" y="14100"/>
                  </a:cubicBezTo>
                  <a:cubicBezTo>
                    <a:pt x="26312" y="14100"/>
                    <a:pt x="26781" y="14173"/>
                    <a:pt x="27482" y="14298"/>
                  </a:cubicBezTo>
                  <a:cubicBezTo>
                    <a:pt x="27730" y="14333"/>
                    <a:pt x="27959" y="14369"/>
                    <a:pt x="28012" y="14369"/>
                  </a:cubicBezTo>
                  <a:cubicBezTo>
                    <a:pt x="28189" y="14315"/>
                    <a:pt x="29126" y="13220"/>
                    <a:pt x="29532" y="12743"/>
                  </a:cubicBezTo>
                  <a:cubicBezTo>
                    <a:pt x="29691" y="12566"/>
                    <a:pt x="29815" y="12407"/>
                    <a:pt x="29886" y="12336"/>
                  </a:cubicBezTo>
                  <a:cubicBezTo>
                    <a:pt x="29426" y="11665"/>
                    <a:pt x="23435" y="7034"/>
                    <a:pt x="22887" y="6663"/>
                  </a:cubicBezTo>
                  <a:cubicBezTo>
                    <a:pt x="22322" y="6310"/>
                    <a:pt x="22640" y="5620"/>
                    <a:pt x="22763" y="3553"/>
                  </a:cubicBezTo>
                  <a:cubicBezTo>
                    <a:pt x="22781" y="3358"/>
                    <a:pt x="22799" y="3199"/>
                    <a:pt x="22799" y="3164"/>
                  </a:cubicBezTo>
                  <a:cubicBezTo>
                    <a:pt x="22763" y="2952"/>
                    <a:pt x="21615" y="1361"/>
                    <a:pt x="21279" y="1025"/>
                  </a:cubicBezTo>
                  <a:cubicBezTo>
                    <a:pt x="21084" y="866"/>
                    <a:pt x="18699" y="672"/>
                    <a:pt x="16949" y="530"/>
                  </a:cubicBezTo>
                  <a:cubicBezTo>
                    <a:pt x="14846" y="354"/>
                    <a:pt x="14157" y="89"/>
                    <a:pt x="1392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5" name="Google Shape;577;p24">
              <a:extLst>
                <a:ext uri="{FF2B5EF4-FFF2-40B4-BE49-F238E27FC236}">
                  <a16:creationId xmlns:a16="http://schemas.microsoft.com/office/drawing/2014/main" id="{A31750AD-5CB8-4651-9069-C8076C00513D}"/>
                </a:ext>
              </a:extLst>
            </p:cNvPr>
            <p:cNvSpPr/>
            <p:nvPr/>
          </p:nvSpPr>
          <p:spPr>
            <a:xfrm>
              <a:off x="4364475" y="4084675"/>
              <a:ext cx="621675" cy="405175"/>
            </a:xfrm>
            <a:custGeom>
              <a:avLst/>
              <a:gdLst/>
              <a:ahLst/>
              <a:cxnLst/>
              <a:rect l="l" t="t" r="r" b="b"/>
              <a:pathLst>
                <a:path w="24867" h="16207" extrusionOk="0">
                  <a:moveTo>
                    <a:pt x="18345" y="0"/>
                  </a:moveTo>
                  <a:cubicBezTo>
                    <a:pt x="17921" y="0"/>
                    <a:pt x="13821" y="3004"/>
                    <a:pt x="13609" y="3217"/>
                  </a:cubicBezTo>
                  <a:cubicBezTo>
                    <a:pt x="13574" y="3270"/>
                    <a:pt x="13061" y="3287"/>
                    <a:pt x="12319" y="3287"/>
                  </a:cubicBezTo>
                  <a:cubicBezTo>
                    <a:pt x="9385" y="3287"/>
                    <a:pt x="2546" y="2951"/>
                    <a:pt x="2316" y="2739"/>
                  </a:cubicBezTo>
                  <a:cubicBezTo>
                    <a:pt x="2104" y="2510"/>
                    <a:pt x="1680" y="1025"/>
                    <a:pt x="1556" y="407"/>
                  </a:cubicBezTo>
                  <a:cubicBezTo>
                    <a:pt x="1167" y="1043"/>
                    <a:pt x="1" y="2934"/>
                    <a:pt x="1" y="3199"/>
                  </a:cubicBezTo>
                  <a:cubicBezTo>
                    <a:pt x="1" y="3517"/>
                    <a:pt x="478" y="4701"/>
                    <a:pt x="814" y="5037"/>
                  </a:cubicBezTo>
                  <a:cubicBezTo>
                    <a:pt x="1079" y="5249"/>
                    <a:pt x="1379" y="5443"/>
                    <a:pt x="1680" y="5602"/>
                  </a:cubicBezTo>
                  <a:cubicBezTo>
                    <a:pt x="2086" y="5850"/>
                    <a:pt x="2758" y="6239"/>
                    <a:pt x="2793" y="6380"/>
                  </a:cubicBezTo>
                  <a:cubicBezTo>
                    <a:pt x="2793" y="6468"/>
                    <a:pt x="2563" y="6822"/>
                    <a:pt x="1203" y="8165"/>
                  </a:cubicBezTo>
                  <a:lnTo>
                    <a:pt x="1096" y="8271"/>
                  </a:lnTo>
                  <a:cubicBezTo>
                    <a:pt x="884" y="8483"/>
                    <a:pt x="1026" y="11523"/>
                    <a:pt x="1203" y="12513"/>
                  </a:cubicBezTo>
                  <a:cubicBezTo>
                    <a:pt x="1609" y="12919"/>
                    <a:pt x="2616" y="12654"/>
                    <a:pt x="2616" y="12901"/>
                  </a:cubicBezTo>
                  <a:cubicBezTo>
                    <a:pt x="2616" y="13184"/>
                    <a:pt x="3571" y="15800"/>
                    <a:pt x="3747" y="15994"/>
                  </a:cubicBezTo>
                  <a:cubicBezTo>
                    <a:pt x="3758" y="15998"/>
                    <a:pt x="3774" y="16000"/>
                    <a:pt x="3797" y="16000"/>
                  </a:cubicBezTo>
                  <a:cubicBezTo>
                    <a:pt x="4096" y="16000"/>
                    <a:pt x="5428" y="15696"/>
                    <a:pt x="6363" y="15499"/>
                  </a:cubicBezTo>
                  <a:cubicBezTo>
                    <a:pt x="7872" y="15180"/>
                    <a:pt x="8641" y="15027"/>
                    <a:pt x="9004" y="15027"/>
                  </a:cubicBezTo>
                  <a:cubicBezTo>
                    <a:pt x="9143" y="15027"/>
                    <a:pt x="9222" y="15049"/>
                    <a:pt x="9261" y="15093"/>
                  </a:cubicBezTo>
                  <a:cubicBezTo>
                    <a:pt x="9491" y="15305"/>
                    <a:pt x="12213" y="16206"/>
                    <a:pt x="12513" y="16206"/>
                  </a:cubicBezTo>
                  <a:cubicBezTo>
                    <a:pt x="12761" y="16206"/>
                    <a:pt x="14033" y="16030"/>
                    <a:pt x="15005" y="15853"/>
                  </a:cubicBezTo>
                  <a:cubicBezTo>
                    <a:pt x="15359" y="15800"/>
                    <a:pt x="15730" y="15729"/>
                    <a:pt x="16066" y="15623"/>
                  </a:cubicBezTo>
                  <a:cubicBezTo>
                    <a:pt x="16066" y="15482"/>
                    <a:pt x="15995" y="15146"/>
                    <a:pt x="15942" y="14828"/>
                  </a:cubicBezTo>
                  <a:cubicBezTo>
                    <a:pt x="15853" y="14280"/>
                    <a:pt x="15800" y="13909"/>
                    <a:pt x="15800" y="13803"/>
                  </a:cubicBezTo>
                  <a:cubicBezTo>
                    <a:pt x="15800" y="13626"/>
                    <a:pt x="16278" y="13326"/>
                    <a:pt x="17232" y="12937"/>
                  </a:cubicBezTo>
                  <a:cubicBezTo>
                    <a:pt x="18098" y="12407"/>
                    <a:pt x="19017" y="11912"/>
                    <a:pt x="19936" y="11470"/>
                  </a:cubicBezTo>
                  <a:cubicBezTo>
                    <a:pt x="20236" y="11311"/>
                    <a:pt x="20555" y="11187"/>
                    <a:pt x="20890" y="11116"/>
                  </a:cubicBezTo>
                  <a:cubicBezTo>
                    <a:pt x="21138" y="11134"/>
                    <a:pt x="21350" y="11275"/>
                    <a:pt x="21491" y="11470"/>
                  </a:cubicBezTo>
                  <a:cubicBezTo>
                    <a:pt x="21597" y="11594"/>
                    <a:pt x="21703" y="11700"/>
                    <a:pt x="21774" y="11700"/>
                  </a:cubicBezTo>
                  <a:cubicBezTo>
                    <a:pt x="22304" y="11576"/>
                    <a:pt x="22834" y="11452"/>
                    <a:pt x="23347" y="11275"/>
                  </a:cubicBezTo>
                  <a:cubicBezTo>
                    <a:pt x="23312" y="11099"/>
                    <a:pt x="23276" y="10922"/>
                    <a:pt x="23205" y="10745"/>
                  </a:cubicBezTo>
                  <a:cubicBezTo>
                    <a:pt x="23135" y="10675"/>
                    <a:pt x="21668" y="8819"/>
                    <a:pt x="21668" y="8501"/>
                  </a:cubicBezTo>
                  <a:cubicBezTo>
                    <a:pt x="21668" y="8324"/>
                    <a:pt x="21951" y="8130"/>
                    <a:pt x="22552" y="7776"/>
                  </a:cubicBezTo>
                  <a:cubicBezTo>
                    <a:pt x="22728" y="7670"/>
                    <a:pt x="22905" y="7564"/>
                    <a:pt x="23082" y="7440"/>
                  </a:cubicBezTo>
                  <a:cubicBezTo>
                    <a:pt x="23082" y="7317"/>
                    <a:pt x="23029" y="6769"/>
                    <a:pt x="22976" y="6239"/>
                  </a:cubicBezTo>
                  <a:cubicBezTo>
                    <a:pt x="22923" y="5496"/>
                    <a:pt x="22852" y="4736"/>
                    <a:pt x="22852" y="4613"/>
                  </a:cubicBezTo>
                  <a:cubicBezTo>
                    <a:pt x="22852" y="4418"/>
                    <a:pt x="23170" y="4295"/>
                    <a:pt x="24213" y="4065"/>
                  </a:cubicBezTo>
                  <a:cubicBezTo>
                    <a:pt x="24460" y="4012"/>
                    <a:pt x="24743" y="3941"/>
                    <a:pt x="24831" y="3906"/>
                  </a:cubicBezTo>
                  <a:cubicBezTo>
                    <a:pt x="24867" y="3711"/>
                    <a:pt x="24867" y="2881"/>
                    <a:pt x="24867" y="1997"/>
                  </a:cubicBezTo>
                  <a:cubicBezTo>
                    <a:pt x="21862" y="1025"/>
                    <a:pt x="18628" y="0"/>
                    <a:pt x="18345"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6" name="Google Shape;578;p24">
              <a:extLst>
                <a:ext uri="{FF2B5EF4-FFF2-40B4-BE49-F238E27FC236}">
                  <a16:creationId xmlns:a16="http://schemas.microsoft.com/office/drawing/2014/main" id="{4E5B7BED-4E1D-4A12-81CD-4E05EE76A51E}"/>
                </a:ext>
              </a:extLst>
            </p:cNvPr>
            <p:cNvSpPr/>
            <p:nvPr/>
          </p:nvSpPr>
          <p:spPr>
            <a:xfrm>
              <a:off x="3111025" y="437850"/>
              <a:ext cx="1532725" cy="1706325"/>
            </a:xfrm>
            <a:custGeom>
              <a:avLst/>
              <a:gdLst/>
              <a:ahLst/>
              <a:cxnLst/>
              <a:rect l="l" t="t" r="r" b="b"/>
              <a:pathLst>
                <a:path w="61309" h="68253" extrusionOk="0">
                  <a:moveTo>
                    <a:pt x="55024" y="1"/>
                  </a:moveTo>
                  <a:cubicBezTo>
                    <a:pt x="54826" y="1"/>
                    <a:pt x="54676" y="22"/>
                    <a:pt x="54628" y="70"/>
                  </a:cubicBezTo>
                  <a:cubicBezTo>
                    <a:pt x="54451" y="264"/>
                    <a:pt x="54310" y="936"/>
                    <a:pt x="54486" y="1113"/>
                  </a:cubicBezTo>
                  <a:cubicBezTo>
                    <a:pt x="54681" y="1289"/>
                    <a:pt x="54504" y="1731"/>
                    <a:pt x="54398" y="1837"/>
                  </a:cubicBezTo>
                  <a:cubicBezTo>
                    <a:pt x="54310" y="1943"/>
                    <a:pt x="54327" y="2933"/>
                    <a:pt x="54327" y="3198"/>
                  </a:cubicBezTo>
                  <a:cubicBezTo>
                    <a:pt x="54327" y="3463"/>
                    <a:pt x="53885" y="3834"/>
                    <a:pt x="53656" y="3834"/>
                  </a:cubicBezTo>
                  <a:cubicBezTo>
                    <a:pt x="53426" y="3834"/>
                    <a:pt x="53638" y="1448"/>
                    <a:pt x="53408" y="1448"/>
                  </a:cubicBezTo>
                  <a:cubicBezTo>
                    <a:pt x="53179" y="1448"/>
                    <a:pt x="52419" y="2014"/>
                    <a:pt x="52242" y="2403"/>
                  </a:cubicBezTo>
                  <a:cubicBezTo>
                    <a:pt x="52087" y="2799"/>
                    <a:pt x="50921" y="5536"/>
                    <a:pt x="50718" y="5536"/>
                  </a:cubicBezTo>
                  <a:cubicBezTo>
                    <a:pt x="50713" y="5536"/>
                    <a:pt x="50708" y="5534"/>
                    <a:pt x="50704" y="5531"/>
                  </a:cubicBezTo>
                  <a:cubicBezTo>
                    <a:pt x="50545" y="5390"/>
                    <a:pt x="50475" y="4223"/>
                    <a:pt x="50475" y="3976"/>
                  </a:cubicBezTo>
                  <a:cubicBezTo>
                    <a:pt x="50475" y="3728"/>
                    <a:pt x="51199" y="2862"/>
                    <a:pt x="51323" y="2491"/>
                  </a:cubicBezTo>
                  <a:cubicBezTo>
                    <a:pt x="51410" y="2202"/>
                    <a:pt x="51319" y="1830"/>
                    <a:pt x="51167" y="1830"/>
                  </a:cubicBezTo>
                  <a:cubicBezTo>
                    <a:pt x="51133" y="1830"/>
                    <a:pt x="51096" y="1848"/>
                    <a:pt x="51058" y="1890"/>
                  </a:cubicBezTo>
                  <a:cubicBezTo>
                    <a:pt x="51033" y="1915"/>
                    <a:pt x="51006" y="1926"/>
                    <a:pt x="50976" y="1926"/>
                  </a:cubicBezTo>
                  <a:cubicBezTo>
                    <a:pt x="50723" y="1926"/>
                    <a:pt x="50295" y="1147"/>
                    <a:pt x="50121" y="989"/>
                  </a:cubicBezTo>
                  <a:cubicBezTo>
                    <a:pt x="50098" y="966"/>
                    <a:pt x="50071" y="956"/>
                    <a:pt x="50040" y="956"/>
                  </a:cubicBezTo>
                  <a:cubicBezTo>
                    <a:pt x="49804" y="956"/>
                    <a:pt x="49360" y="1538"/>
                    <a:pt x="49220" y="1678"/>
                  </a:cubicBezTo>
                  <a:cubicBezTo>
                    <a:pt x="49061" y="1837"/>
                    <a:pt x="49237" y="2792"/>
                    <a:pt x="49237" y="3233"/>
                  </a:cubicBezTo>
                  <a:cubicBezTo>
                    <a:pt x="49237" y="3675"/>
                    <a:pt x="48106" y="4541"/>
                    <a:pt x="47877" y="4771"/>
                  </a:cubicBezTo>
                  <a:cubicBezTo>
                    <a:pt x="47647" y="5018"/>
                    <a:pt x="47735" y="6344"/>
                    <a:pt x="47523" y="6344"/>
                  </a:cubicBezTo>
                  <a:cubicBezTo>
                    <a:pt x="47293" y="6344"/>
                    <a:pt x="47064" y="5460"/>
                    <a:pt x="46745" y="5372"/>
                  </a:cubicBezTo>
                  <a:cubicBezTo>
                    <a:pt x="46648" y="5339"/>
                    <a:pt x="46345" y="5322"/>
                    <a:pt x="45972" y="5322"/>
                  </a:cubicBezTo>
                  <a:cubicBezTo>
                    <a:pt x="45132" y="5322"/>
                    <a:pt x="43935" y="5411"/>
                    <a:pt x="43935" y="5619"/>
                  </a:cubicBezTo>
                  <a:cubicBezTo>
                    <a:pt x="43935" y="5902"/>
                    <a:pt x="44678" y="6415"/>
                    <a:pt x="44678" y="6627"/>
                  </a:cubicBezTo>
                  <a:cubicBezTo>
                    <a:pt x="44678" y="6831"/>
                    <a:pt x="44232" y="7174"/>
                    <a:pt x="43810" y="7174"/>
                  </a:cubicBezTo>
                  <a:cubicBezTo>
                    <a:pt x="43757" y="7174"/>
                    <a:pt x="43704" y="7169"/>
                    <a:pt x="43653" y="7157"/>
                  </a:cubicBezTo>
                  <a:cubicBezTo>
                    <a:pt x="43562" y="7133"/>
                    <a:pt x="43456" y="7123"/>
                    <a:pt x="43345" y="7123"/>
                  </a:cubicBezTo>
                  <a:cubicBezTo>
                    <a:pt x="42871" y="7123"/>
                    <a:pt x="42292" y="7317"/>
                    <a:pt x="42292" y="7546"/>
                  </a:cubicBezTo>
                  <a:cubicBezTo>
                    <a:pt x="42292" y="7828"/>
                    <a:pt x="42292" y="8942"/>
                    <a:pt x="42044" y="8942"/>
                  </a:cubicBezTo>
                  <a:cubicBezTo>
                    <a:pt x="41797" y="8942"/>
                    <a:pt x="42080" y="8447"/>
                    <a:pt x="41656" y="8111"/>
                  </a:cubicBezTo>
                  <a:cubicBezTo>
                    <a:pt x="41295" y="7837"/>
                    <a:pt x="40805" y="7552"/>
                    <a:pt x="40532" y="7552"/>
                  </a:cubicBezTo>
                  <a:cubicBezTo>
                    <a:pt x="40470" y="7552"/>
                    <a:pt x="40419" y="7566"/>
                    <a:pt x="40383" y="7599"/>
                  </a:cubicBezTo>
                  <a:cubicBezTo>
                    <a:pt x="40189" y="7793"/>
                    <a:pt x="38421" y="9189"/>
                    <a:pt x="38616" y="9578"/>
                  </a:cubicBezTo>
                  <a:cubicBezTo>
                    <a:pt x="38710" y="9766"/>
                    <a:pt x="38634" y="9863"/>
                    <a:pt x="38483" y="9863"/>
                  </a:cubicBezTo>
                  <a:cubicBezTo>
                    <a:pt x="38322" y="9863"/>
                    <a:pt x="38075" y="9753"/>
                    <a:pt x="37856" y="9525"/>
                  </a:cubicBezTo>
                  <a:cubicBezTo>
                    <a:pt x="37492" y="9176"/>
                    <a:pt x="37200" y="8671"/>
                    <a:pt x="36941" y="8671"/>
                  </a:cubicBezTo>
                  <a:cubicBezTo>
                    <a:pt x="36885" y="8671"/>
                    <a:pt x="36831" y="8694"/>
                    <a:pt x="36778" y="8747"/>
                  </a:cubicBezTo>
                  <a:cubicBezTo>
                    <a:pt x="36477" y="9030"/>
                    <a:pt x="35647" y="9631"/>
                    <a:pt x="35647" y="10002"/>
                  </a:cubicBezTo>
                  <a:cubicBezTo>
                    <a:pt x="35647" y="10391"/>
                    <a:pt x="34622" y="11010"/>
                    <a:pt x="34781" y="11169"/>
                  </a:cubicBezTo>
                  <a:cubicBezTo>
                    <a:pt x="34860" y="11248"/>
                    <a:pt x="35095" y="11288"/>
                    <a:pt x="35357" y="11288"/>
                  </a:cubicBezTo>
                  <a:cubicBezTo>
                    <a:pt x="35620" y="11288"/>
                    <a:pt x="35912" y="11248"/>
                    <a:pt x="36106" y="11169"/>
                  </a:cubicBezTo>
                  <a:cubicBezTo>
                    <a:pt x="36411" y="11049"/>
                    <a:pt x="36796" y="10870"/>
                    <a:pt x="37043" y="10870"/>
                  </a:cubicBezTo>
                  <a:cubicBezTo>
                    <a:pt x="37126" y="10870"/>
                    <a:pt x="37193" y="10890"/>
                    <a:pt x="37237" y="10939"/>
                  </a:cubicBezTo>
                  <a:cubicBezTo>
                    <a:pt x="37432" y="11133"/>
                    <a:pt x="36195" y="11805"/>
                    <a:pt x="36195" y="12105"/>
                  </a:cubicBezTo>
                  <a:cubicBezTo>
                    <a:pt x="36195" y="12388"/>
                    <a:pt x="36477" y="13272"/>
                    <a:pt x="36318" y="13431"/>
                  </a:cubicBezTo>
                  <a:cubicBezTo>
                    <a:pt x="36281" y="13464"/>
                    <a:pt x="36200" y="13476"/>
                    <a:pt x="36097" y="13476"/>
                  </a:cubicBezTo>
                  <a:cubicBezTo>
                    <a:pt x="35842" y="13476"/>
                    <a:pt x="35451" y="13404"/>
                    <a:pt x="35246" y="13404"/>
                  </a:cubicBezTo>
                  <a:cubicBezTo>
                    <a:pt x="35180" y="13404"/>
                    <a:pt x="35133" y="13411"/>
                    <a:pt x="35117" y="13431"/>
                  </a:cubicBezTo>
                  <a:cubicBezTo>
                    <a:pt x="35028" y="13519"/>
                    <a:pt x="34251" y="14350"/>
                    <a:pt x="34127" y="14491"/>
                  </a:cubicBezTo>
                  <a:cubicBezTo>
                    <a:pt x="33986" y="14633"/>
                    <a:pt x="35187" y="15216"/>
                    <a:pt x="35064" y="15339"/>
                  </a:cubicBezTo>
                  <a:cubicBezTo>
                    <a:pt x="34940" y="15463"/>
                    <a:pt x="33367" y="15499"/>
                    <a:pt x="33084" y="15799"/>
                  </a:cubicBezTo>
                  <a:cubicBezTo>
                    <a:pt x="32801" y="16099"/>
                    <a:pt x="30416" y="18238"/>
                    <a:pt x="30416" y="18450"/>
                  </a:cubicBezTo>
                  <a:cubicBezTo>
                    <a:pt x="30416" y="18662"/>
                    <a:pt x="31229" y="20482"/>
                    <a:pt x="31087" y="20624"/>
                  </a:cubicBezTo>
                  <a:cubicBezTo>
                    <a:pt x="30946" y="20765"/>
                    <a:pt x="29320" y="21189"/>
                    <a:pt x="29125" y="21366"/>
                  </a:cubicBezTo>
                  <a:cubicBezTo>
                    <a:pt x="28913" y="21560"/>
                    <a:pt x="25927" y="25484"/>
                    <a:pt x="25927" y="25731"/>
                  </a:cubicBezTo>
                  <a:cubicBezTo>
                    <a:pt x="25927" y="25996"/>
                    <a:pt x="27676" y="26474"/>
                    <a:pt x="27570" y="26597"/>
                  </a:cubicBezTo>
                  <a:cubicBezTo>
                    <a:pt x="27446" y="26703"/>
                    <a:pt x="25220" y="26721"/>
                    <a:pt x="25131" y="26792"/>
                  </a:cubicBezTo>
                  <a:cubicBezTo>
                    <a:pt x="25043" y="26880"/>
                    <a:pt x="25449" y="27640"/>
                    <a:pt x="25449" y="27923"/>
                  </a:cubicBezTo>
                  <a:cubicBezTo>
                    <a:pt x="25449" y="28223"/>
                    <a:pt x="23081" y="30803"/>
                    <a:pt x="22922" y="30963"/>
                  </a:cubicBezTo>
                  <a:cubicBezTo>
                    <a:pt x="22763" y="31122"/>
                    <a:pt x="24212" y="31899"/>
                    <a:pt x="24089" y="32005"/>
                  </a:cubicBezTo>
                  <a:cubicBezTo>
                    <a:pt x="24064" y="32029"/>
                    <a:pt x="23921" y="32039"/>
                    <a:pt x="23710" y="32039"/>
                  </a:cubicBezTo>
                  <a:cubicBezTo>
                    <a:pt x="22999" y="32039"/>
                    <a:pt x="21527" y="31931"/>
                    <a:pt x="21349" y="31917"/>
                  </a:cubicBezTo>
                  <a:cubicBezTo>
                    <a:pt x="21346" y="31917"/>
                    <a:pt x="21343" y="31917"/>
                    <a:pt x="21339" y="31917"/>
                  </a:cubicBezTo>
                  <a:cubicBezTo>
                    <a:pt x="21095" y="31917"/>
                    <a:pt x="20254" y="32520"/>
                    <a:pt x="20254" y="32712"/>
                  </a:cubicBezTo>
                  <a:cubicBezTo>
                    <a:pt x="20254" y="32889"/>
                    <a:pt x="21826" y="33755"/>
                    <a:pt x="21703" y="33879"/>
                  </a:cubicBezTo>
                  <a:cubicBezTo>
                    <a:pt x="21669" y="33912"/>
                    <a:pt x="21582" y="33922"/>
                    <a:pt x="21465" y="33922"/>
                  </a:cubicBezTo>
                  <a:cubicBezTo>
                    <a:pt x="21314" y="33922"/>
                    <a:pt x="21113" y="33906"/>
                    <a:pt x="20909" y="33906"/>
                  </a:cubicBezTo>
                  <a:cubicBezTo>
                    <a:pt x="20607" y="33906"/>
                    <a:pt x="20298" y="33940"/>
                    <a:pt x="20130" y="34108"/>
                  </a:cubicBezTo>
                  <a:cubicBezTo>
                    <a:pt x="19759" y="34479"/>
                    <a:pt x="15941" y="37996"/>
                    <a:pt x="15941" y="38297"/>
                  </a:cubicBezTo>
                  <a:cubicBezTo>
                    <a:pt x="15941" y="38597"/>
                    <a:pt x="15941" y="39481"/>
                    <a:pt x="15499" y="39481"/>
                  </a:cubicBezTo>
                  <a:cubicBezTo>
                    <a:pt x="15075" y="39481"/>
                    <a:pt x="12760" y="40223"/>
                    <a:pt x="12672" y="40612"/>
                  </a:cubicBezTo>
                  <a:cubicBezTo>
                    <a:pt x="12583" y="41001"/>
                    <a:pt x="13078" y="42167"/>
                    <a:pt x="12884" y="42167"/>
                  </a:cubicBezTo>
                  <a:cubicBezTo>
                    <a:pt x="12672" y="42167"/>
                    <a:pt x="12283" y="41637"/>
                    <a:pt x="12124" y="41443"/>
                  </a:cubicBezTo>
                  <a:cubicBezTo>
                    <a:pt x="12014" y="41320"/>
                    <a:pt x="11392" y="41214"/>
                    <a:pt x="10857" y="41214"/>
                  </a:cubicBezTo>
                  <a:cubicBezTo>
                    <a:pt x="10621" y="41214"/>
                    <a:pt x="10402" y="41235"/>
                    <a:pt x="10251" y="41284"/>
                  </a:cubicBezTo>
                  <a:cubicBezTo>
                    <a:pt x="9756" y="41443"/>
                    <a:pt x="8395" y="42468"/>
                    <a:pt x="8395" y="42556"/>
                  </a:cubicBezTo>
                  <a:cubicBezTo>
                    <a:pt x="8395" y="42644"/>
                    <a:pt x="9667" y="43669"/>
                    <a:pt x="9862" y="43864"/>
                  </a:cubicBezTo>
                  <a:cubicBezTo>
                    <a:pt x="10074" y="44076"/>
                    <a:pt x="10304" y="44624"/>
                    <a:pt x="10056" y="44624"/>
                  </a:cubicBezTo>
                  <a:cubicBezTo>
                    <a:pt x="9791" y="44624"/>
                    <a:pt x="9332" y="44253"/>
                    <a:pt x="9190" y="44129"/>
                  </a:cubicBezTo>
                  <a:cubicBezTo>
                    <a:pt x="9054" y="43992"/>
                    <a:pt x="8274" y="43296"/>
                    <a:pt x="7791" y="43296"/>
                  </a:cubicBezTo>
                  <a:cubicBezTo>
                    <a:pt x="7774" y="43296"/>
                    <a:pt x="7757" y="43297"/>
                    <a:pt x="7741" y="43298"/>
                  </a:cubicBezTo>
                  <a:cubicBezTo>
                    <a:pt x="7264" y="43369"/>
                    <a:pt x="3022" y="45260"/>
                    <a:pt x="2775" y="45507"/>
                  </a:cubicBezTo>
                  <a:cubicBezTo>
                    <a:pt x="2527" y="45755"/>
                    <a:pt x="3075" y="47699"/>
                    <a:pt x="3075" y="48070"/>
                  </a:cubicBezTo>
                  <a:cubicBezTo>
                    <a:pt x="3075" y="48424"/>
                    <a:pt x="1962" y="50297"/>
                    <a:pt x="1962" y="50438"/>
                  </a:cubicBezTo>
                  <a:cubicBezTo>
                    <a:pt x="1962" y="50580"/>
                    <a:pt x="4471" y="50544"/>
                    <a:pt x="4242" y="50774"/>
                  </a:cubicBezTo>
                  <a:cubicBezTo>
                    <a:pt x="3994" y="51021"/>
                    <a:pt x="1714" y="51075"/>
                    <a:pt x="1714" y="51499"/>
                  </a:cubicBezTo>
                  <a:cubicBezTo>
                    <a:pt x="1714" y="51941"/>
                    <a:pt x="1114" y="54751"/>
                    <a:pt x="1114" y="54963"/>
                  </a:cubicBezTo>
                  <a:cubicBezTo>
                    <a:pt x="1114" y="55192"/>
                    <a:pt x="2192" y="55758"/>
                    <a:pt x="1962" y="55988"/>
                  </a:cubicBezTo>
                  <a:cubicBezTo>
                    <a:pt x="1916" y="56038"/>
                    <a:pt x="1858" y="56056"/>
                    <a:pt x="1793" y="56056"/>
                  </a:cubicBezTo>
                  <a:cubicBezTo>
                    <a:pt x="1621" y="56056"/>
                    <a:pt x="1402" y="55928"/>
                    <a:pt x="1226" y="55928"/>
                  </a:cubicBezTo>
                  <a:cubicBezTo>
                    <a:pt x="1164" y="55928"/>
                    <a:pt x="1108" y="55944"/>
                    <a:pt x="1061" y="55988"/>
                  </a:cubicBezTo>
                  <a:cubicBezTo>
                    <a:pt x="831" y="56217"/>
                    <a:pt x="389" y="57543"/>
                    <a:pt x="495" y="57649"/>
                  </a:cubicBezTo>
                  <a:cubicBezTo>
                    <a:pt x="503" y="57656"/>
                    <a:pt x="516" y="57659"/>
                    <a:pt x="533" y="57659"/>
                  </a:cubicBezTo>
                  <a:cubicBezTo>
                    <a:pt x="779" y="57659"/>
                    <a:pt x="1901" y="56992"/>
                    <a:pt x="2545" y="56695"/>
                  </a:cubicBezTo>
                  <a:cubicBezTo>
                    <a:pt x="3117" y="56424"/>
                    <a:pt x="3778" y="56038"/>
                    <a:pt x="3962" y="56038"/>
                  </a:cubicBezTo>
                  <a:cubicBezTo>
                    <a:pt x="3994" y="56038"/>
                    <a:pt x="4012" y="56050"/>
                    <a:pt x="4012" y="56076"/>
                  </a:cubicBezTo>
                  <a:cubicBezTo>
                    <a:pt x="4012" y="56253"/>
                    <a:pt x="2227" y="57737"/>
                    <a:pt x="2103" y="57861"/>
                  </a:cubicBezTo>
                  <a:cubicBezTo>
                    <a:pt x="1980" y="58002"/>
                    <a:pt x="2227" y="58621"/>
                    <a:pt x="2103" y="58745"/>
                  </a:cubicBezTo>
                  <a:cubicBezTo>
                    <a:pt x="1980" y="58886"/>
                    <a:pt x="725" y="58868"/>
                    <a:pt x="566" y="59027"/>
                  </a:cubicBezTo>
                  <a:cubicBezTo>
                    <a:pt x="389" y="59186"/>
                    <a:pt x="0" y="60671"/>
                    <a:pt x="0" y="60901"/>
                  </a:cubicBezTo>
                  <a:cubicBezTo>
                    <a:pt x="0" y="61020"/>
                    <a:pt x="110" y="61078"/>
                    <a:pt x="311" y="61078"/>
                  </a:cubicBezTo>
                  <a:cubicBezTo>
                    <a:pt x="496" y="61078"/>
                    <a:pt x="756" y="61029"/>
                    <a:pt x="1078" y="60936"/>
                  </a:cubicBezTo>
                  <a:cubicBezTo>
                    <a:pt x="1630" y="60780"/>
                    <a:pt x="2976" y="60103"/>
                    <a:pt x="3217" y="60103"/>
                  </a:cubicBezTo>
                  <a:cubicBezTo>
                    <a:pt x="3277" y="60103"/>
                    <a:pt x="3269" y="60145"/>
                    <a:pt x="3164" y="60247"/>
                  </a:cubicBezTo>
                  <a:cubicBezTo>
                    <a:pt x="2651" y="60777"/>
                    <a:pt x="1891" y="61113"/>
                    <a:pt x="1891" y="61413"/>
                  </a:cubicBezTo>
                  <a:cubicBezTo>
                    <a:pt x="1891" y="61696"/>
                    <a:pt x="1962" y="62686"/>
                    <a:pt x="2209" y="62915"/>
                  </a:cubicBezTo>
                  <a:cubicBezTo>
                    <a:pt x="2343" y="63040"/>
                    <a:pt x="2311" y="63102"/>
                    <a:pt x="2178" y="63102"/>
                  </a:cubicBezTo>
                  <a:cubicBezTo>
                    <a:pt x="2065" y="63102"/>
                    <a:pt x="1880" y="63058"/>
                    <a:pt x="1661" y="62969"/>
                  </a:cubicBezTo>
                  <a:cubicBezTo>
                    <a:pt x="1202" y="62756"/>
                    <a:pt x="1131" y="62085"/>
                    <a:pt x="1008" y="62085"/>
                  </a:cubicBezTo>
                  <a:cubicBezTo>
                    <a:pt x="884" y="62085"/>
                    <a:pt x="336" y="64329"/>
                    <a:pt x="336" y="64559"/>
                  </a:cubicBezTo>
                  <a:cubicBezTo>
                    <a:pt x="336" y="64789"/>
                    <a:pt x="3287" y="67776"/>
                    <a:pt x="3429" y="67899"/>
                  </a:cubicBezTo>
                  <a:cubicBezTo>
                    <a:pt x="3552" y="68041"/>
                    <a:pt x="6663" y="68253"/>
                    <a:pt x="7122" y="68253"/>
                  </a:cubicBezTo>
                  <a:cubicBezTo>
                    <a:pt x="7564" y="68253"/>
                    <a:pt x="11541" y="64347"/>
                    <a:pt x="11841" y="64347"/>
                  </a:cubicBezTo>
                  <a:cubicBezTo>
                    <a:pt x="12080" y="64347"/>
                    <a:pt x="12815" y="64466"/>
                    <a:pt x="13332" y="64466"/>
                  </a:cubicBezTo>
                  <a:cubicBezTo>
                    <a:pt x="13505" y="64466"/>
                    <a:pt x="13653" y="64453"/>
                    <a:pt x="13750" y="64418"/>
                  </a:cubicBezTo>
                  <a:cubicBezTo>
                    <a:pt x="14139" y="64276"/>
                    <a:pt x="14545" y="61979"/>
                    <a:pt x="14775" y="61979"/>
                  </a:cubicBezTo>
                  <a:cubicBezTo>
                    <a:pt x="15005" y="61979"/>
                    <a:pt x="15146" y="63287"/>
                    <a:pt x="15146" y="63534"/>
                  </a:cubicBezTo>
                  <a:cubicBezTo>
                    <a:pt x="15146" y="63781"/>
                    <a:pt x="15941" y="63994"/>
                    <a:pt x="16259" y="64329"/>
                  </a:cubicBezTo>
                  <a:cubicBezTo>
                    <a:pt x="16330" y="64382"/>
                    <a:pt x="16401" y="64736"/>
                    <a:pt x="16489" y="65266"/>
                  </a:cubicBezTo>
                  <a:cubicBezTo>
                    <a:pt x="17055" y="63552"/>
                    <a:pt x="17868" y="61184"/>
                    <a:pt x="18044" y="61007"/>
                  </a:cubicBezTo>
                  <a:cubicBezTo>
                    <a:pt x="18310" y="60795"/>
                    <a:pt x="18610" y="60600"/>
                    <a:pt x="18928" y="60424"/>
                  </a:cubicBezTo>
                  <a:cubicBezTo>
                    <a:pt x="19405" y="60158"/>
                    <a:pt x="19847" y="59840"/>
                    <a:pt x="20289" y="59505"/>
                  </a:cubicBezTo>
                  <a:cubicBezTo>
                    <a:pt x="20572" y="59222"/>
                    <a:pt x="20360" y="56429"/>
                    <a:pt x="20289" y="55510"/>
                  </a:cubicBezTo>
                  <a:cubicBezTo>
                    <a:pt x="20254" y="55192"/>
                    <a:pt x="20254" y="54998"/>
                    <a:pt x="20254" y="54910"/>
                  </a:cubicBezTo>
                  <a:cubicBezTo>
                    <a:pt x="20254" y="54698"/>
                    <a:pt x="20607" y="54362"/>
                    <a:pt x="21367" y="53708"/>
                  </a:cubicBezTo>
                  <a:cubicBezTo>
                    <a:pt x="21703" y="53425"/>
                    <a:pt x="22162" y="53019"/>
                    <a:pt x="22198" y="52913"/>
                  </a:cubicBezTo>
                  <a:cubicBezTo>
                    <a:pt x="22003" y="52577"/>
                    <a:pt x="21791" y="52259"/>
                    <a:pt x="21561" y="51976"/>
                  </a:cubicBezTo>
                  <a:cubicBezTo>
                    <a:pt x="21013" y="51234"/>
                    <a:pt x="20660" y="50721"/>
                    <a:pt x="20660" y="50474"/>
                  </a:cubicBezTo>
                  <a:cubicBezTo>
                    <a:pt x="20660" y="50403"/>
                    <a:pt x="20943" y="42044"/>
                    <a:pt x="21226" y="41743"/>
                  </a:cubicBezTo>
                  <a:cubicBezTo>
                    <a:pt x="21332" y="41637"/>
                    <a:pt x="22039" y="40700"/>
                    <a:pt x="22657" y="39870"/>
                  </a:cubicBezTo>
                  <a:cubicBezTo>
                    <a:pt x="23417" y="38845"/>
                    <a:pt x="23894" y="38226"/>
                    <a:pt x="23983" y="38120"/>
                  </a:cubicBezTo>
                  <a:cubicBezTo>
                    <a:pt x="24056" y="38046"/>
                    <a:pt x="24338" y="38010"/>
                    <a:pt x="24891" y="38010"/>
                  </a:cubicBezTo>
                  <a:cubicBezTo>
                    <a:pt x="25001" y="38010"/>
                    <a:pt x="25122" y="38011"/>
                    <a:pt x="25255" y="38014"/>
                  </a:cubicBezTo>
                  <a:cubicBezTo>
                    <a:pt x="25381" y="38014"/>
                    <a:pt x="25528" y="38016"/>
                    <a:pt x="25675" y="38016"/>
                  </a:cubicBezTo>
                  <a:cubicBezTo>
                    <a:pt x="26042" y="38016"/>
                    <a:pt x="26411" y="38007"/>
                    <a:pt x="26474" y="37943"/>
                  </a:cubicBezTo>
                  <a:cubicBezTo>
                    <a:pt x="26563" y="37784"/>
                    <a:pt x="26209" y="36618"/>
                    <a:pt x="26033" y="36052"/>
                  </a:cubicBezTo>
                  <a:cubicBezTo>
                    <a:pt x="25927" y="35752"/>
                    <a:pt x="25856" y="35469"/>
                    <a:pt x="25803" y="35169"/>
                  </a:cubicBezTo>
                  <a:cubicBezTo>
                    <a:pt x="25803" y="35027"/>
                    <a:pt x="26050" y="34674"/>
                    <a:pt x="27005" y="33472"/>
                  </a:cubicBezTo>
                  <a:cubicBezTo>
                    <a:pt x="27623" y="32677"/>
                    <a:pt x="28560" y="31475"/>
                    <a:pt x="28560" y="31263"/>
                  </a:cubicBezTo>
                  <a:lnTo>
                    <a:pt x="28560" y="31086"/>
                  </a:lnTo>
                  <a:cubicBezTo>
                    <a:pt x="28560" y="30432"/>
                    <a:pt x="28525" y="28912"/>
                    <a:pt x="28949" y="28046"/>
                  </a:cubicBezTo>
                  <a:cubicBezTo>
                    <a:pt x="29408" y="27057"/>
                    <a:pt x="32377" y="23593"/>
                    <a:pt x="32678" y="23310"/>
                  </a:cubicBezTo>
                  <a:cubicBezTo>
                    <a:pt x="32890" y="23080"/>
                    <a:pt x="32766" y="22197"/>
                    <a:pt x="32695" y="21737"/>
                  </a:cubicBezTo>
                  <a:cubicBezTo>
                    <a:pt x="32678" y="21596"/>
                    <a:pt x="32660" y="21454"/>
                    <a:pt x="32642" y="21313"/>
                  </a:cubicBezTo>
                  <a:cubicBezTo>
                    <a:pt x="32642" y="20924"/>
                    <a:pt x="34887" y="18008"/>
                    <a:pt x="35028" y="17867"/>
                  </a:cubicBezTo>
                  <a:cubicBezTo>
                    <a:pt x="35086" y="17816"/>
                    <a:pt x="35170" y="17795"/>
                    <a:pt x="35273" y="17795"/>
                  </a:cubicBezTo>
                  <a:cubicBezTo>
                    <a:pt x="35421" y="17795"/>
                    <a:pt x="35607" y="17839"/>
                    <a:pt x="35806" y="17902"/>
                  </a:cubicBezTo>
                  <a:cubicBezTo>
                    <a:pt x="36008" y="17969"/>
                    <a:pt x="36232" y="18044"/>
                    <a:pt x="36409" y="18044"/>
                  </a:cubicBezTo>
                  <a:cubicBezTo>
                    <a:pt x="36510" y="18044"/>
                    <a:pt x="36596" y="18020"/>
                    <a:pt x="36654" y="17955"/>
                  </a:cubicBezTo>
                  <a:cubicBezTo>
                    <a:pt x="36831" y="17796"/>
                    <a:pt x="36831" y="16859"/>
                    <a:pt x="36813" y="16170"/>
                  </a:cubicBezTo>
                  <a:cubicBezTo>
                    <a:pt x="36813" y="15286"/>
                    <a:pt x="36813" y="14774"/>
                    <a:pt x="36972" y="14615"/>
                  </a:cubicBezTo>
                  <a:cubicBezTo>
                    <a:pt x="37037" y="14551"/>
                    <a:pt x="37145" y="14522"/>
                    <a:pt x="37295" y="14522"/>
                  </a:cubicBezTo>
                  <a:cubicBezTo>
                    <a:pt x="37678" y="14522"/>
                    <a:pt x="38329" y="14709"/>
                    <a:pt x="39181" y="14951"/>
                  </a:cubicBezTo>
                  <a:cubicBezTo>
                    <a:pt x="39517" y="15057"/>
                    <a:pt x="39853" y="15145"/>
                    <a:pt x="40189" y="15216"/>
                  </a:cubicBezTo>
                  <a:cubicBezTo>
                    <a:pt x="40383" y="15145"/>
                    <a:pt x="40825" y="13767"/>
                    <a:pt x="41037" y="13113"/>
                  </a:cubicBezTo>
                  <a:cubicBezTo>
                    <a:pt x="41249" y="12406"/>
                    <a:pt x="41355" y="12141"/>
                    <a:pt x="41426" y="12070"/>
                  </a:cubicBezTo>
                  <a:cubicBezTo>
                    <a:pt x="41567" y="11929"/>
                    <a:pt x="42080" y="11858"/>
                    <a:pt x="42257" y="11823"/>
                  </a:cubicBezTo>
                  <a:cubicBezTo>
                    <a:pt x="42380" y="11808"/>
                    <a:pt x="42521" y="11797"/>
                    <a:pt x="42652" y="11797"/>
                  </a:cubicBezTo>
                  <a:cubicBezTo>
                    <a:pt x="42840" y="11797"/>
                    <a:pt x="43007" y="11820"/>
                    <a:pt x="43069" y="11893"/>
                  </a:cubicBezTo>
                  <a:lnTo>
                    <a:pt x="43229" y="12052"/>
                  </a:lnTo>
                  <a:cubicBezTo>
                    <a:pt x="43812" y="10638"/>
                    <a:pt x="44024" y="10638"/>
                    <a:pt x="44077" y="10638"/>
                  </a:cubicBezTo>
                  <a:cubicBezTo>
                    <a:pt x="44201" y="10638"/>
                    <a:pt x="44395" y="10833"/>
                    <a:pt x="45349" y="11964"/>
                  </a:cubicBezTo>
                  <a:cubicBezTo>
                    <a:pt x="45826" y="12529"/>
                    <a:pt x="46480" y="13325"/>
                    <a:pt x="46622" y="13378"/>
                  </a:cubicBezTo>
                  <a:cubicBezTo>
                    <a:pt x="46940" y="13219"/>
                    <a:pt x="47258" y="13042"/>
                    <a:pt x="47576" y="12848"/>
                  </a:cubicBezTo>
                  <a:cubicBezTo>
                    <a:pt x="48230" y="12459"/>
                    <a:pt x="48530" y="12282"/>
                    <a:pt x="48672" y="12282"/>
                  </a:cubicBezTo>
                  <a:cubicBezTo>
                    <a:pt x="48796" y="12282"/>
                    <a:pt x="49131" y="12441"/>
                    <a:pt x="49856" y="12812"/>
                  </a:cubicBezTo>
                  <a:cubicBezTo>
                    <a:pt x="50245" y="13042"/>
                    <a:pt x="50651" y="13219"/>
                    <a:pt x="51075" y="13378"/>
                  </a:cubicBezTo>
                  <a:cubicBezTo>
                    <a:pt x="51323" y="13342"/>
                    <a:pt x="52613" y="12088"/>
                    <a:pt x="52666" y="11893"/>
                  </a:cubicBezTo>
                  <a:cubicBezTo>
                    <a:pt x="52666" y="11840"/>
                    <a:pt x="52666" y="11787"/>
                    <a:pt x="52666" y="11752"/>
                  </a:cubicBezTo>
                  <a:cubicBezTo>
                    <a:pt x="52578" y="6980"/>
                    <a:pt x="52825" y="6733"/>
                    <a:pt x="52913" y="6644"/>
                  </a:cubicBezTo>
                  <a:cubicBezTo>
                    <a:pt x="53108" y="6450"/>
                    <a:pt x="53744" y="6273"/>
                    <a:pt x="54557" y="6079"/>
                  </a:cubicBezTo>
                  <a:cubicBezTo>
                    <a:pt x="54787" y="6026"/>
                    <a:pt x="55017" y="5973"/>
                    <a:pt x="55229" y="5902"/>
                  </a:cubicBezTo>
                  <a:cubicBezTo>
                    <a:pt x="55405" y="5743"/>
                    <a:pt x="55600" y="5602"/>
                    <a:pt x="55794" y="5496"/>
                  </a:cubicBezTo>
                  <a:cubicBezTo>
                    <a:pt x="56056" y="5341"/>
                    <a:pt x="56245" y="5266"/>
                    <a:pt x="56379" y="5266"/>
                  </a:cubicBezTo>
                  <a:cubicBezTo>
                    <a:pt x="56444" y="5266"/>
                    <a:pt x="56496" y="5284"/>
                    <a:pt x="56536" y="5319"/>
                  </a:cubicBezTo>
                  <a:cubicBezTo>
                    <a:pt x="56607" y="5390"/>
                    <a:pt x="57614" y="6149"/>
                    <a:pt x="58215" y="6538"/>
                  </a:cubicBezTo>
                  <a:cubicBezTo>
                    <a:pt x="59152" y="7104"/>
                    <a:pt x="58251" y="8447"/>
                    <a:pt x="58162" y="9083"/>
                  </a:cubicBezTo>
                  <a:cubicBezTo>
                    <a:pt x="58746" y="8164"/>
                    <a:pt x="59859" y="6733"/>
                    <a:pt x="61237" y="6733"/>
                  </a:cubicBezTo>
                  <a:cubicBezTo>
                    <a:pt x="60690" y="6715"/>
                    <a:pt x="60796" y="5973"/>
                    <a:pt x="60195" y="5867"/>
                  </a:cubicBezTo>
                  <a:cubicBezTo>
                    <a:pt x="59771" y="5778"/>
                    <a:pt x="58180" y="5195"/>
                    <a:pt x="58180" y="4965"/>
                  </a:cubicBezTo>
                  <a:cubicBezTo>
                    <a:pt x="58180" y="4892"/>
                    <a:pt x="58371" y="4873"/>
                    <a:pt x="58631" y="4873"/>
                  </a:cubicBezTo>
                  <a:cubicBezTo>
                    <a:pt x="58930" y="4873"/>
                    <a:pt x="59321" y="4899"/>
                    <a:pt x="59620" y="4899"/>
                  </a:cubicBezTo>
                  <a:cubicBezTo>
                    <a:pt x="59880" y="4899"/>
                    <a:pt x="60071" y="4879"/>
                    <a:pt x="60071" y="4806"/>
                  </a:cubicBezTo>
                  <a:cubicBezTo>
                    <a:pt x="60071" y="4577"/>
                    <a:pt x="61308" y="3781"/>
                    <a:pt x="61308" y="3499"/>
                  </a:cubicBezTo>
                  <a:cubicBezTo>
                    <a:pt x="61308" y="3198"/>
                    <a:pt x="59276" y="2138"/>
                    <a:pt x="58905" y="2014"/>
                  </a:cubicBezTo>
                  <a:cubicBezTo>
                    <a:pt x="58516" y="1873"/>
                    <a:pt x="58710" y="1342"/>
                    <a:pt x="58516" y="1166"/>
                  </a:cubicBezTo>
                  <a:cubicBezTo>
                    <a:pt x="58339" y="971"/>
                    <a:pt x="57597" y="777"/>
                    <a:pt x="57385" y="777"/>
                  </a:cubicBezTo>
                  <a:cubicBezTo>
                    <a:pt x="57190" y="777"/>
                    <a:pt x="56801" y="2314"/>
                    <a:pt x="56801" y="2562"/>
                  </a:cubicBezTo>
                  <a:cubicBezTo>
                    <a:pt x="56801" y="2749"/>
                    <a:pt x="56527" y="3201"/>
                    <a:pt x="56395" y="3201"/>
                  </a:cubicBezTo>
                  <a:cubicBezTo>
                    <a:pt x="56352" y="3201"/>
                    <a:pt x="56324" y="3155"/>
                    <a:pt x="56324" y="3039"/>
                  </a:cubicBezTo>
                  <a:cubicBezTo>
                    <a:pt x="56324" y="2562"/>
                    <a:pt x="55812" y="2403"/>
                    <a:pt x="55812" y="2173"/>
                  </a:cubicBezTo>
                  <a:cubicBezTo>
                    <a:pt x="55812" y="1943"/>
                    <a:pt x="56572" y="1501"/>
                    <a:pt x="56572" y="1272"/>
                  </a:cubicBezTo>
                  <a:cubicBezTo>
                    <a:pt x="56572" y="1042"/>
                    <a:pt x="56766" y="494"/>
                    <a:pt x="56554" y="300"/>
                  </a:cubicBezTo>
                  <a:cubicBezTo>
                    <a:pt x="56400" y="146"/>
                    <a:pt x="55547" y="1"/>
                    <a:pt x="55024"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7" name="Google Shape;579;p24">
              <a:extLst>
                <a:ext uri="{FF2B5EF4-FFF2-40B4-BE49-F238E27FC236}">
                  <a16:creationId xmlns:a16="http://schemas.microsoft.com/office/drawing/2014/main" id="{A28ED693-F784-40A6-A2D2-89B9442CF9A4}"/>
                </a:ext>
              </a:extLst>
            </p:cNvPr>
            <p:cNvSpPr/>
            <p:nvPr/>
          </p:nvSpPr>
          <p:spPr>
            <a:xfrm>
              <a:off x="1231925" y="3682150"/>
              <a:ext cx="1200475" cy="1103725"/>
            </a:xfrm>
            <a:custGeom>
              <a:avLst/>
              <a:gdLst/>
              <a:ahLst/>
              <a:cxnLst/>
              <a:rect l="l" t="t" r="r" b="b"/>
              <a:pathLst>
                <a:path w="48019" h="44149" extrusionOk="0">
                  <a:moveTo>
                    <a:pt x="8219" y="1"/>
                  </a:moveTo>
                  <a:cubicBezTo>
                    <a:pt x="7370" y="1"/>
                    <a:pt x="7459" y="672"/>
                    <a:pt x="7158" y="991"/>
                  </a:cubicBezTo>
                  <a:cubicBezTo>
                    <a:pt x="7111" y="1037"/>
                    <a:pt x="7054" y="1058"/>
                    <a:pt x="6986" y="1058"/>
                  </a:cubicBezTo>
                  <a:cubicBezTo>
                    <a:pt x="6619" y="1058"/>
                    <a:pt x="5927" y="468"/>
                    <a:pt x="4719" y="319"/>
                  </a:cubicBezTo>
                  <a:cubicBezTo>
                    <a:pt x="4638" y="309"/>
                    <a:pt x="4567" y="304"/>
                    <a:pt x="4504" y="304"/>
                  </a:cubicBezTo>
                  <a:cubicBezTo>
                    <a:pt x="4018" y="304"/>
                    <a:pt x="4048" y="591"/>
                    <a:pt x="4189" y="920"/>
                  </a:cubicBezTo>
                  <a:cubicBezTo>
                    <a:pt x="4295" y="1203"/>
                    <a:pt x="3235" y="973"/>
                    <a:pt x="2952" y="1256"/>
                  </a:cubicBezTo>
                  <a:cubicBezTo>
                    <a:pt x="2404" y="1821"/>
                    <a:pt x="3517" y="2687"/>
                    <a:pt x="2881" y="2687"/>
                  </a:cubicBezTo>
                  <a:cubicBezTo>
                    <a:pt x="2563" y="2687"/>
                    <a:pt x="2598" y="3076"/>
                    <a:pt x="2598" y="3253"/>
                  </a:cubicBezTo>
                  <a:cubicBezTo>
                    <a:pt x="2598" y="3429"/>
                    <a:pt x="3129" y="4101"/>
                    <a:pt x="3305" y="4737"/>
                  </a:cubicBezTo>
                  <a:cubicBezTo>
                    <a:pt x="3482" y="5391"/>
                    <a:pt x="2652" y="6098"/>
                    <a:pt x="2298" y="6452"/>
                  </a:cubicBezTo>
                  <a:cubicBezTo>
                    <a:pt x="2157" y="6681"/>
                    <a:pt x="2068" y="6929"/>
                    <a:pt x="2015" y="7194"/>
                  </a:cubicBezTo>
                  <a:cubicBezTo>
                    <a:pt x="3747" y="7671"/>
                    <a:pt x="5320" y="8184"/>
                    <a:pt x="5409" y="8378"/>
                  </a:cubicBezTo>
                  <a:cubicBezTo>
                    <a:pt x="5409" y="8519"/>
                    <a:pt x="5126" y="8678"/>
                    <a:pt x="4931" y="8784"/>
                  </a:cubicBezTo>
                  <a:cubicBezTo>
                    <a:pt x="4719" y="8908"/>
                    <a:pt x="4525" y="9014"/>
                    <a:pt x="4507" y="9156"/>
                  </a:cubicBezTo>
                  <a:cubicBezTo>
                    <a:pt x="4490" y="9226"/>
                    <a:pt x="4525" y="9297"/>
                    <a:pt x="4560" y="9332"/>
                  </a:cubicBezTo>
                  <a:cubicBezTo>
                    <a:pt x="4684" y="9456"/>
                    <a:pt x="5232" y="9456"/>
                    <a:pt x="6469" y="9756"/>
                  </a:cubicBezTo>
                  <a:cubicBezTo>
                    <a:pt x="6805" y="9827"/>
                    <a:pt x="7193" y="10357"/>
                    <a:pt x="7565" y="10410"/>
                  </a:cubicBezTo>
                  <a:cubicBezTo>
                    <a:pt x="7693" y="10431"/>
                    <a:pt x="7820" y="10439"/>
                    <a:pt x="7941" y="10439"/>
                  </a:cubicBezTo>
                  <a:cubicBezTo>
                    <a:pt x="8315" y="10439"/>
                    <a:pt x="8637" y="10364"/>
                    <a:pt x="8809" y="10364"/>
                  </a:cubicBezTo>
                  <a:cubicBezTo>
                    <a:pt x="8865" y="10364"/>
                    <a:pt x="8905" y="10372"/>
                    <a:pt x="8925" y="10393"/>
                  </a:cubicBezTo>
                  <a:cubicBezTo>
                    <a:pt x="9350" y="10817"/>
                    <a:pt x="10728" y="11895"/>
                    <a:pt x="11170" y="12690"/>
                  </a:cubicBezTo>
                  <a:cubicBezTo>
                    <a:pt x="11294" y="12902"/>
                    <a:pt x="10869" y="13591"/>
                    <a:pt x="10869" y="13680"/>
                  </a:cubicBezTo>
                  <a:cubicBezTo>
                    <a:pt x="10852" y="13892"/>
                    <a:pt x="7918" y="15270"/>
                    <a:pt x="7918" y="15482"/>
                  </a:cubicBezTo>
                  <a:cubicBezTo>
                    <a:pt x="7918" y="16013"/>
                    <a:pt x="6451" y="19989"/>
                    <a:pt x="6080" y="20060"/>
                  </a:cubicBezTo>
                  <a:cubicBezTo>
                    <a:pt x="5762" y="20060"/>
                    <a:pt x="5479" y="20555"/>
                    <a:pt x="5090" y="21315"/>
                  </a:cubicBezTo>
                  <a:cubicBezTo>
                    <a:pt x="4947" y="21585"/>
                    <a:pt x="5047" y="22113"/>
                    <a:pt x="4734" y="22113"/>
                  </a:cubicBezTo>
                  <a:cubicBezTo>
                    <a:pt x="4699" y="22113"/>
                    <a:pt x="4659" y="22106"/>
                    <a:pt x="4613" y="22092"/>
                  </a:cubicBezTo>
                  <a:cubicBezTo>
                    <a:pt x="4171" y="21969"/>
                    <a:pt x="3836" y="21615"/>
                    <a:pt x="3358" y="21597"/>
                  </a:cubicBezTo>
                  <a:cubicBezTo>
                    <a:pt x="3356" y="21597"/>
                    <a:pt x="3354" y="21597"/>
                    <a:pt x="3352" y="21597"/>
                  </a:cubicBezTo>
                  <a:cubicBezTo>
                    <a:pt x="2884" y="21597"/>
                    <a:pt x="3165" y="23438"/>
                    <a:pt x="3288" y="24001"/>
                  </a:cubicBezTo>
                  <a:cubicBezTo>
                    <a:pt x="3376" y="24460"/>
                    <a:pt x="3818" y="24726"/>
                    <a:pt x="3942" y="25061"/>
                  </a:cubicBezTo>
                  <a:cubicBezTo>
                    <a:pt x="4048" y="25309"/>
                    <a:pt x="3765" y="25980"/>
                    <a:pt x="3694" y="26069"/>
                  </a:cubicBezTo>
                  <a:cubicBezTo>
                    <a:pt x="3624" y="26157"/>
                    <a:pt x="1626" y="27288"/>
                    <a:pt x="1626" y="27500"/>
                  </a:cubicBezTo>
                  <a:cubicBezTo>
                    <a:pt x="1591" y="27977"/>
                    <a:pt x="1644" y="28455"/>
                    <a:pt x="1786" y="28914"/>
                  </a:cubicBezTo>
                  <a:cubicBezTo>
                    <a:pt x="2015" y="29409"/>
                    <a:pt x="2775" y="30063"/>
                    <a:pt x="2545" y="30293"/>
                  </a:cubicBezTo>
                  <a:cubicBezTo>
                    <a:pt x="2404" y="30434"/>
                    <a:pt x="1308" y="30787"/>
                    <a:pt x="725" y="31265"/>
                  </a:cubicBezTo>
                  <a:cubicBezTo>
                    <a:pt x="372" y="31530"/>
                    <a:pt x="142" y="33491"/>
                    <a:pt x="1" y="34552"/>
                  </a:cubicBezTo>
                  <a:cubicBezTo>
                    <a:pt x="937" y="35064"/>
                    <a:pt x="2634" y="37132"/>
                    <a:pt x="2634" y="37768"/>
                  </a:cubicBezTo>
                  <a:lnTo>
                    <a:pt x="2634" y="40879"/>
                  </a:lnTo>
                  <a:cubicBezTo>
                    <a:pt x="2634" y="41462"/>
                    <a:pt x="4719" y="43371"/>
                    <a:pt x="4719" y="43371"/>
                  </a:cubicBezTo>
                  <a:cubicBezTo>
                    <a:pt x="4763" y="43385"/>
                    <a:pt x="4810" y="43392"/>
                    <a:pt x="4859" y="43392"/>
                  </a:cubicBezTo>
                  <a:cubicBezTo>
                    <a:pt x="5481" y="43392"/>
                    <a:pt x="6471" y="42326"/>
                    <a:pt x="6716" y="42081"/>
                  </a:cubicBezTo>
                  <a:cubicBezTo>
                    <a:pt x="6831" y="41973"/>
                    <a:pt x="7131" y="41941"/>
                    <a:pt x="7497" y="41941"/>
                  </a:cubicBezTo>
                  <a:cubicBezTo>
                    <a:pt x="8032" y="41941"/>
                    <a:pt x="8707" y="42010"/>
                    <a:pt x="9138" y="42010"/>
                  </a:cubicBezTo>
                  <a:cubicBezTo>
                    <a:pt x="9314" y="42010"/>
                    <a:pt x="9654" y="42008"/>
                    <a:pt x="10079" y="42008"/>
                  </a:cubicBezTo>
                  <a:cubicBezTo>
                    <a:pt x="11351" y="42008"/>
                    <a:pt x="13379" y="42027"/>
                    <a:pt x="14015" y="42187"/>
                  </a:cubicBezTo>
                  <a:cubicBezTo>
                    <a:pt x="14795" y="42362"/>
                    <a:pt x="16219" y="43596"/>
                    <a:pt x="17385" y="43596"/>
                  </a:cubicBezTo>
                  <a:cubicBezTo>
                    <a:pt x="17514" y="43596"/>
                    <a:pt x="17640" y="43581"/>
                    <a:pt x="17762" y="43547"/>
                  </a:cubicBezTo>
                  <a:cubicBezTo>
                    <a:pt x="17953" y="43492"/>
                    <a:pt x="18140" y="43469"/>
                    <a:pt x="18323" y="43469"/>
                  </a:cubicBezTo>
                  <a:cubicBezTo>
                    <a:pt x="19309" y="43469"/>
                    <a:pt x="20139" y="44148"/>
                    <a:pt x="20378" y="44148"/>
                  </a:cubicBezTo>
                  <a:cubicBezTo>
                    <a:pt x="20643" y="44148"/>
                    <a:pt x="22569" y="41921"/>
                    <a:pt x="22993" y="41497"/>
                  </a:cubicBezTo>
                  <a:cubicBezTo>
                    <a:pt x="23182" y="41309"/>
                    <a:pt x="23705" y="41256"/>
                    <a:pt x="24277" y="41256"/>
                  </a:cubicBezTo>
                  <a:cubicBezTo>
                    <a:pt x="24992" y="41256"/>
                    <a:pt x="25782" y="41338"/>
                    <a:pt x="26086" y="41338"/>
                  </a:cubicBezTo>
                  <a:cubicBezTo>
                    <a:pt x="26293" y="41338"/>
                    <a:pt x="26539" y="41356"/>
                    <a:pt x="26763" y="41356"/>
                  </a:cubicBezTo>
                  <a:cubicBezTo>
                    <a:pt x="27133" y="41356"/>
                    <a:pt x="27447" y="41308"/>
                    <a:pt x="27447" y="41055"/>
                  </a:cubicBezTo>
                  <a:cubicBezTo>
                    <a:pt x="27447" y="40649"/>
                    <a:pt x="28949" y="38086"/>
                    <a:pt x="29320" y="37733"/>
                  </a:cubicBezTo>
                  <a:cubicBezTo>
                    <a:pt x="29674" y="37379"/>
                    <a:pt x="31388" y="36814"/>
                    <a:pt x="31865" y="36814"/>
                  </a:cubicBezTo>
                  <a:cubicBezTo>
                    <a:pt x="32342" y="36814"/>
                    <a:pt x="32784" y="36266"/>
                    <a:pt x="32784" y="36001"/>
                  </a:cubicBezTo>
                  <a:cubicBezTo>
                    <a:pt x="32784" y="35718"/>
                    <a:pt x="31759" y="34782"/>
                    <a:pt x="31529" y="34534"/>
                  </a:cubicBezTo>
                  <a:cubicBezTo>
                    <a:pt x="31282" y="34304"/>
                    <a:pt x="31476" y="32484"/>
                    <a:pt x="31476" y="31600"/>
                  </a:cubicBezTo>
                  <a:cubicBezTo>
                    <a:pt x="31476" y="30717"/>
                    <a:pt x="38422" y="24991"/>
                    <a:pt x="38422" y="24991"/>
                  </a:cubicBezTo>
                  <a:cubicBezTo>
                    <a:pt x="38579" y="24833"/>
                    <a:pt x="39179" y="24782"/>
                    <a:pt x="39916" y="24782"/>
                  </a:cubicBezTo>
                  <a:cubicBezTo>
                    <a:pt x="41335" y="24782"/>
                    <a:pt x="43262" y="24973"/>
                    <a:pt x="43529" y="24973"/>
                  </a:cubicBezTo>
                  <a:cubicBezTo>
                    <a:pt x="43936" y="24973"/>
                    <a:pt x="44819" y="24089"/>
                    <a:pt x="45085" y="23824"/>
                  </a:cubicBezTo>
                  <a:cubicBezTo>
                    <a:pt x="45261" y="23647"/>
                    <a:pt x="46905" y="22870"/>
                    <a:pt x="48018" y="22234"/>
                  </a:cubicBezTo>
                  <a:cubicBezTo>
                    <a:pt x="46428" y="20943"/>
                    <a:pt x="43512" y="18204"/>
                    <a:pt x="40012" y="14705"/>
                  </a:cubicBezTo>
                  <a:lnTo>
                    <a:pt x="39977" y="14652"/>
                  </a:lnTo>
                  <a:cubicBezTo>
                    <a:pt x="39965" y="14640"/>
                    <a:pt x="39948" y="14635"/>
                    <a:pt x="39927" y="14635"/>
                  </a:cubicBezTo>
                  <a:cubicBezTo>
                    <a:pt x="39732" y="14635"/>
                    <a:pt x="39178" y="15094"/>
                    <a:pt x="38963" y="15094"/>
                  </a:cubicBezTo>
                  <a:cubicBezTo>
                    <a:pt x="38959" y="15094"/>
                    <a:pt x="38955" y="15094"/>
                    <a:pt x="38952" y="15094"/>
                  </a:cubicBezTo>
                  <a:cubicBezTo>
                    <a:pt x="37909" y="14988"/>
                    <a:pt x="36001" y="14298"/>
                    <a:pt x="35842" y="14139"/>
                  </a:cubicBezTo>
                  <a:cubicBezTo>
                    <a:pt x="35329" y="13627"/>
                    <a:pt x="32060" y="10516"/>
                    <a:pt x="31724" y="10234"/>
                  </a:cubicBezTo>
                  <a:lnTo>
                    <a:pt x="31494" y="9332"/>
                  </a:lnTo>
                  <a:cubicBezTo>
                    <a:pt x="31529" y="9315"/>
                    <a:pt x="31565" y="9297"/>
                    <a:pt x="31600" y="9279"/>
                  </a:cubicBezTo>
                  <a:lnTo>
                    <a:pt x="31600" y="9279"/>
                  </a:lnTo>
                  <a:cubicBezTo>
                    <a:pt x="31284" y="9361"/>
                    <a:pt x="30797" y="9442"/>
                    <a:pt x="30268" y="9442"/>
                  </a:cubicBezTo>
                  <a:cubicBezTo>
                    <a:pt x="29881" y="9442"/>
                    <a:pt x="29471" y="9399"/>
                    <a:pt x="29090" y="9279"/>
                  </a:cubicBezTo>
                  <a:cubicBezTo>
                    <a:pt x="27270" y="8696"/>
                    <a:pt x="25202" y="6858"/>
                    <a:pt x="24725" y="6381"/>
                  </a:cubicBezTo>
                  <a:cubicBezTo>
                    <a:pt x="24504" y="6168"/>
                    <a:pt x="23871" y="6110"/>
                    <a:pt x="23196" y="6110"/>
                  </a:cubicBezTo>
                  <a:cubicBezTo>
                    <a:pt x="22417" y="6110"/>
                    <a:pt x="21583" y="6186"/>
                    <a:pt x="21261" y="6186"/>
                  </a:cubicBezTo>
                  <a:cubicBezTo>
                    <a:pt x="20643" y="6186"/>
                    <a:pt x="17762" y="4083"/>
                    <a:pt x="16560" y="3235"/>
                  </a:cubicBezTo>
                  <a:cubicBezTo>
                    <a:pt x="15376" y="2387"/>
                    <a:pt x="13909" y="2351"/>
                    <a:pt x="12690" y="2351"/>
                  </a:cubicBezTo>
                  <a:cubicBezTo>
                    <a:pt x="11470" y="2351"/>
                    <a:pt x="10923" y="1026"/>
                    <a:pt x="10604" y="708"/>
                  </a:cubicBezTo>
                  <a:cubicBezTo>
                    <a:pt x="10304" y="407"/>
                    <a:pt x="9067" y="1"/>
                    <a:pt x="8219"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8" name="Google Shape;580;p24">
              <a:extLst>
                <a:ext uri="{FF2B5EF4-FFF2-40B4-BE49-F238E27FC236}">
                  <a16:creationId xmlns:a16="http://schemas.microsoft.com/office/drawing/2014/main" id="{AE8AD3B8-101C-41AD-AE4C-A2262FCBC9A2}"/>
                </a:ext>
              </a:extLst>
            </p:cNvPr>
            <p:cNvSpPr/>
            <p:nvPr/>
          </p:nvSpPr>
          <p:spPr>
            <a:xfrm>
              <a:off x="1030450" y="3861975"/>
              <a:ext cx="483825" cy="695475"/>
            </a:xfrm>
            <a:custGeom>
              <a:avLst/>
              <a:gdLst/>
              <a:ahLst/>
              <a:cxnLst/>
              <a:rect l="l" t="t" r="r" b="b"/>
              <a:pathLst>
                <a:path w="19353" h="27819" extrusionOk="0">
                  <a:moveTo>
                    <a:pt x="10074" y="1"/>
                  </a:moveTo>
                  <a:cubicBezTo>
                    <a:pt x="9968" y="460"/>
                    <a:pt x="9915" y="991"/>
                    <a:pt x="9738" y="1167"/>
                  </a:cubicBezTo>
                  <a:cubicBezTo>
                    <a:pt x="9456" y="1450"/>
                    <a:pt x="8961" y="4437"/>
                    <a:pt x="8961" y="5320"/>
                  </a:cubicBezTo>
                  <a:cubicBezTo>
                    <a:pt x="8961" y="6204"/>
                    <a:pt x="8590" y="5921"/>
                    <a:pt x="8342" y="6911"/>
                  </a:cubicBezTo>
                  <a:cubicBezTo>
                    <a:pt x="8113" y="7901"/>
                    <a:pt x="6133" y="10728"/>
                    <a:pt x="4914" y="11930"/>
                  </a:cubicBezTo>
                  <a:cubicBezTo>
                    <a:pt x="3712" y="13150"/>
                    <a:pt x="3164" y="13114"/>
                    <a:pt x="3146" y="13697"/>
                  </a:cubicBezTo>
                  <a:cubicBezTo>
                    <a:pt x="3129" y="14298"/>
                    <a:pt x="1096" y="15624"/>
                    <a:pt x="1255" y="15818"/>
                  </a:cubicBezTo>
                  <a:cubicBezTo>
                    <a:pt x="1461" y="16058"/>
                    <a:pt x="1848" y="16562"/>
                    <a:pt x="2306" y="16562"/>
                  </a:cubicBezTo>
                  <a:cubicBezTo>
                    <a:pt x="2321" y="16562"/>
                    <a:pt x="2336" y="16562"/>
                    <a:pt x="2351" y="16561"/>
                  </a:cubicBezTo>
                  <a:cubicBezTo>
                    <a:pt x="2371" y="16560"/>
                    <a:pt x="2391" y="16559"/>
                    <a:pt x="2412" y="16559"/>
                  </a:cubicBezTo>
                  <a:cubicBezTo>
                    <a:pt x="2749" y="16559"/>
                    <a:pt x="3111" y="16694"/>
                    <a:pt x="3111" y="16861"/>
                  </a:cubicBezTo>
                  <a:cubicBezTo>
                    <a:pt x="3111" y="17002"/>
                    <a:pt x="2493" y="17038"/>
                    <a:pt x="2174" y="17232"/>
                  </a:cubicBezTo>
                  <a:cubicBezTo>
                    <a:pt x="2086" y="17303"/>
                    <a:pt x="2139" y="18027"/>
                    <a:pt x="2298" y="18151"/>
                  </a:cubicBezTo>
                  <a:cubicBezTo>
                    <a:pt x="2705" y="18452"/>
                    <a:pt x="3394" y="18681"/>
                    <a:pt x="3588" y="18876"/>
                  </a:cubicBezTo>
                  <a:cubicBezTo>
                    <a:pt x="3853" y="19141"/>
                    <a:pt x="3783" y="19512"/>
                    <a:pt x="3093" y="20219"/>
                  </a:cubicBezTo>
                  <a:cubicBezTo>
                    <a:pt x="2386" y="20926"/>
                    <a:pt x="2581" y="22799"/>
                    <a:pt x="2051" y="24195"/>
                  </a:cubicBezTo>
                  <a:cubicBezTo>
                    <a:pt x="1697" y="25114"/>
                    <a:pt x="778" y="25450"/>
                    <a:pt x="283" y="25662"/>
                  </a:cubicBezTo>
                  <a:cubicBezTo>
                    <a:pt x="1" y="25768"/>
                    <a:pt x="230" y="26051"/>
                    <a:pt x="513" y="26051"/>
                  </a:cubicBezTo>
                  <a:cubicBezTo>
                    <a:pt x="878" y="26041"/>
                    <a:pt x="1360" y="25981"/>
                    <a:pt x="1864" y="25981"/>
                  </a:cubicBezTo>
                  <a:cubicBezTo>
                    <a:pt x="2214" y="25981"/>
                    <a:pt x="2576" y="26010"/>
                    <a:pt x="2917" y="26104"/>
                  </a:cubicBezTo>
                  <a:cubicBezTo>
                    <a:pt x="4083" y="26422"/>
                    <a:pt x="4931" y="27818"/>
                    <a:pt x="5426" y="27818"/>
                  </a:cubicBezTo>
                  <a:cubicBezTo>
                    <a:pt x="5797" y="27818"/>
                    <a:pt x="6531" y="27306"/>
                    <a:pt x="7595" y="27306"/>
                  </a:cubicBezTo>
                  <a:cubicBezTo>
                    <a:pt x="7749" y="27306"/>
                    <a:pt x="7910" y="27317"/>
                    <a:pt x="8077" y="27341"/>
                  </a:cubicBezTo>
                  <a:cubicBezTo>
                    <a:pt x="8219" y="26298"/>
                    <a:pt x="8448" y="24319"/>
                    <a:pt x="8784" y="24054"/>
                  </a:cubicBezTo>
                  <a:cubicBezTo>
                    <a:pt x="9367" y="23594"/>
                    <a:pt x="10463" y="23223"/>
                    <a:pt x="10604" y="23082"/>
                  </a:cubicBezTo>
                  <a:cubicBezTo>
                    <a:pt x="10834" y="22870"/>
                    <a:pt x="10074" y="22216"/>
                    <a:pt x="9845" y="21703"/>
                  </a:cubicBezTo>
                  <a:cubicBezTo>
                    <a:pt x="9703" y="21262"/>
                    <a:pt x="9632" y="20784"/>
                    <a:pt x="9668" y="20307"/>
                  </a:cubicBezTo>
                  <a:cubicBezTo>
                    <a:pt x="9668" y="20077"/>
                    <a:pt x="11665" y="18964"/>
                    <a:pt x="11753" y="18858"/>
                  </a:cubicBezTo>
                  <a:cubicBezTo>
                    <a:pt x="11842" y="18770"/>
                    <a:pt x="12107" y="18116"/>
                    <a:pt x="12001" y="17868"/>
                  </a:cubicBezTo>
                  <a:cubicBezTo>
                    <a:pt x="11877" y="17515"/>
                    <a:pt x="11435" y="17267"/>
                    <a:pt x="11347" y="16790"/>
                  </a:cubicBezTo>
                  <a:cubicBezTo>
                    <a:pt x="11224" y="16245"/>
                    <a:pt x="10943" y="14404"/>
                    <a:pt x="11411" y="14404"/>
                  </a:cubicBezTo>
                  <a:cubicBezTo>
                    <a:pt x="11413" y="14404"/>
                    <a:pt x="11415" y="14404"/>
                    <a:pt x="11417" y="14404"/>
                  </a:cubicBezTo>
                  <a:cubicBezTo>
                    <a:pt x="11895" y="14422"/>
                    <a:pt x="12230" y="14758"/>
                    <a:pt x="12672" y="14899"/>
                  </a:cubicBezTo>
                  <a:cubicBezTo>
                    <a:pt x="12718" y="14913"/>
                    <a:pt x="12758" y="14920"/>
                    <a:pt x="12793" y="14920"/>
                  </a:cubicBezTo>
                  <a:cubicBezTo>
                    <a:pt x="13106" y="14920"/>
                    <a:pt x="13006" y="14392"/>
                    <a:pt x="13149" y="14122"/>
                  </a:cubicBezTo>
                  <a:cubicBezTo>
                    <a:pt x="13538" y="13362"/>
                    <a:pt x="13803" y="12849"/>
                    <a:pt x="14139" y="12849"/>
                  </a:cubicBezTo>
                  <a:cubicBezTo>
                    <a:pt x="14510" y="12796"/>
                    <a:pt x="15977" y="8820"/>
                    <a:pt x="15977" y="8272"/>
                  </a:cubicBezTo>
                  <a:cubicBezTo>
                    <a:pt x="15977" y="8060"/>
                    <a:pt x="18911" y="6681"/>
                    <a:pt x="18928" y="6469"/>
                  </a:cubicBezTo>
                  <a:cubicBezTo>
                    <a:pt x="18928" y="6381"/>
                    <a:pt x="19353" y="5709"/>
                    <a:pt x="19229" y="5479"/>
                  </a:cubicBezTo>
                  <a:cubicBezTo>
                    <a:pt x="18787" y="4684"/>
                    <a:pt x="17409" y="3606"/>
                    <a:pt x="16984" y="3182"/>
                  </a:cubicBezTo>
                  <a:cubicBezTo>
                    <a:pt x="16967" y="3167"/>
                    <a:pt x="16935" y="3161"/>
                    <a:pt x="16891" y="3161"/>
                  </a:cubicBezTo>
                  <a:cubicBezTo>
                    <a:pt x="16726" y="3161"/>
                    <a:pt x="16389" y="3246"/>
                    <a:pt x="15997" y="3246"/>
                  </a:cubicBezTo>
                  <a:cubicBezTo>
                    <a:pt x="15876" y="3246"/>
                    <a:pt x="15751" y="3238"/>
                    <a:pt x="15624" y="3217"/>
                  </a:cubicBezTo>
                  <a:cubicBezTo>
                    <a:pt x="15252" y="3147"/>
                    <a:pt x="14846" y="2634"/>
                    <a:pt x="14528" y="2546"/>
                  </a:cubicBezTo>
                  <a:cubicBezTo>
                    <a:pt x="13291" y="2245"/>
                    <a:pt x="12743" y="2245"/>
                    <a:pt x="12619" y="2122"/>
                  </a:cubicBezTo>
                  <a:cubicBezTo>
                    <a:pt x="12584" y="2086"/>
                    <a:pt x="12549" y="2016"/>
                    <a:pt x="12566" y="1963"/>
                  </a:cubicBezTo>
                  <a:cubicBezTo>
                    <a:pt x="12584" y="1821"/>
                    <a:pt x="12761" y="1715"/>
                    <a:pt x="12973" y="1591"/>
                  </a:cubicBezTo>
                  <a:cubicBezTo>
                    <a:pt x="13202" y="1468"/>
                    <a:pt x="13468" y="1309"/>
                    <a:pt x="13468" y="1167"/>
                  </a:cubicBezTo>
                  <a:cubicBezTo>
                    <a:pt x="13379" y="973"/>
                    <a:pt x="11806" y="460"/>
                    <a:pt x="10074"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79" name="Google Shape;581;p24">
              <a:extLst>
                <a:ext uri="{FF2B5EF4-FFF2-40B4-BE49-F238E27FC236}">
                  <a16:creationId xmlns:a16="http://schemas.microsoft.com/office/drawing/2014/main" id="{39F26D3F-871E-48F9-9F9C-5AF99DE8BA19}"/>
                </a:ext>
              </a:extLst>
            </p:cNvPr>
            <p:cNvSpPr/>
            <p:nvPr/>
          </p:nvSpPr>
          <p:spPr>
            <a:xfrm>
              <a:off x="4781575" y="3510575"/>
              <a:ext cx="303100" cy="396950"/>
            </a:xfrm>
            <a:custGeom>
              <a:avLst/>
              <a:gdLst/>
              <a:ahLst/>
              <a:cxnLst/>
              <a:rect l="l" t="t" r="r" b="b"/>
              <a:pathLst>
                <a:path w="12124" h="15878" extrusionOk="0">
                  <a:moveTo>
                    <a:pt x="2363" y="1"/>
                  </a:moveTo>
                  <a:cubicBezTo>
                    <a:pt x="2319" y="1"/>
                    <a:pt x="2284" y="8"/>
                    <a:pt x="2262" y="24"/>
                  </a:cubicBezTo>
                  <a:cubicBezTo>
                    <a:pt x="1873" y="289"/>
                    <a:pt x="354" y="1315"/>
                    <a:pt x="0" y="1544"/>
                  </a:cubicBezTo>
                  <a:cubicBezTo>
                    <a:pt x="71" y="1703"/>
                    <a:pt x="159" y="1898"/>
                    <a:pt x="283" y="2145"/>
                  </a:cubicBezTo>
                  <a:cubicBezTo>
                    <a:pt x="654" y="2923"/>
                    <a:pt x="1237" y="4142"/>
                    <a:pt x="1520" y="4425"/>
                  </a:cubicBezTo>
                  <a:cubicBezTo>
                    <a:pt x="1803" y="4708"/>
                    <a:pt x="4931" y="8366"/>
                    <a:pt x="4931" y="8826"/>
                  </a:cubicBezTo>
                  <a:cubicBezTo>
                    <a:pt x="4931" y="8879"/>
                    <a:pt x="4931" y="9126"/>
                    <a:pt x="4913" y="9479"/>
                  </a:cubicBezTo>
                  <a:cubicBezTo>
                    <a:pt x="4772" y="12749"/>
                    <a:pt x="4772" y="14499"/>
                    <a:pt x="4913" y="14693"/>
                  </a:cubicBezTo>
                  <a:cubicBezTo>
                    <a:pt x="5479" y="15135"/>
                    <a:pt x="6080" y="15524"/>
                    <a:pt x="6698" y="15877"/>
                  </a:cubicBezTo>
                  <a:cubicBezTo>
                    <a:pt x="6857" y="15524"/>
                    <a:pt x="6963" y="15153"/>
                    <a:pt x="6910" y="15082"/>
                  </a:cubicBezTo>
                  <a:cubicBezTo>
                    <a:pt x="6875" y="15011"/>
                    <a:pt x="6822" y="15011"/>
                    <a:pt x="6769" y="14958"/>
                  </a:cubicBezTo>
                  <a:cubicBezTo>
                    <a:pt x="6451" y="14675"/>
                    <a:pt x="6168" y="14410"/>
                    <a:pt x="6168" y="14163"/>
                  </a:cubicBezTo>
                  <a:cubicBezTo>
                    <a:pt x="6168" y="14004"/>
                    <a:pt x="6433" y="13686"/>
                    <a:pt x="7052" y="12961"/>
                  </a:cubicBezTo>
                  <a:cubicBezTo>
                    <a:pt x="7405" y="12572"/>
                    <a:pt x="7882" y="12042"/>
                    <a:pt x="7900" y="11918"/>
                  </a:cubicBezTo>
                  <a:cubicBezTo>
                    <a:pt x="7918" y="11795"/>
                    <a:pt x="7794" y="11317"/>
                    <a:pt x="7706" y="10911"/>
                  </a:cubicBezTo>
                  <a:cubicBezTo>
                    <a:pt x="7635" y="10558"/>
                    <a:pt x="7564" y="10204"/>
                    <a:pt x="7511" y="9851"/>
                  </a:cubicBezTo>
                  <a:cubicBezTo>
                    <a:pt x="7529" y="9798"/>
                    <a:pt x="7529" y="9762"/>
                    <a:pt x="7564" y="9745"/>
                  </a:cubicBezTo>
                  <a:cubicBezTo>
                    <a:pt x="7635" y="9674"/>
                    <a:pt x="7812" y="9497"/>
                    <a:pt x="10834" y="9497"/>
                  </a:cubicBezTo>
                  <a:lnTo>
                    <a:pt x="11293" y="9497"/>
                  </a:lnTo>
                  <a:cubicBezTo>
                    <a:pt x="11523" y="9497"/>
                    <a:pt x="12106" y="9303"/>
                    <a:pt x="12124" y="9197"/>
                  </a:cubicBezTo>
                  <a:cubicBezTo>
                    <a:pt x="11982" y="9055"/>
                    <a:pt x="11682" y="8401"/>
                    <a:pt x="11205" y="7341"/>
                  </a:cubicBezTo>
                  <a:cubicBezTo>
                    <a:pt x="10816" y="6457"/>
                    <a:pt x="10321" y="5344"/>
                    <a:pt x="10162" y="5203"/>
                  </a:cubicBezTo>
                  <a:cubicBezTo>
                    <a:pt x="10003" y="5061"/>
                    <a:pt x="9632" y="5079"/>
                    <a:pt x="9278" y="5061"/>
                  </a:cubicBezTo>
                  <a:cubicBezTo>
                    <a:pt x="8837" y="5061"/>
                    <a:pt x="8430" y="5061"/>
                    <a:pt x="8236" y="4867"/>
                  </a:cubicBezTo>
                  <a:cubicBezTo>
                    <a:pt x="8041" y="4672"/>
                    <a:pt x="8094" y="4036"/>
                    <a:pt x="8183" y="3046"/>
                  </a:cubicBezTo>
                  <a:cubicBezTo>
                    <a:pt x="8236" y="2463"/>
                    <a:pt x="8306" y="1756"/>
                    <a:pt x="8218" y="1615"/>
                  </a:cubicBezTo>
                  <a:cubicBezTo>
                    <a:pt x="8122" y="1459"/>
                    <a:pt x="7724" y="1425"/>
                    <a:pt x="7295" y="1425"/>
                  </a:cubicBezTo>
                  <a:cubicBezTo>
                    <a:pt x="7093" y="1425"/>
                    <a:pt x="6885" y="1433"/>
                    <a:pt x="6698" y="1438"/>
                  </a:cubicBezTo>
                  <a:cubicBezTo>
                    <a:pt x="6504" y="1438"/>
                    <a:pt x="6327" y="1456"/>
                    <a:pt x="6168" y="1456"/>
                  </a:cubicBezTo>
                  <a:cubicBezTo>
                    <a:pt x="5850" y="1456"/>
                    <a:pt x="5161" y="1138"/>
                    <a:pt x="4348" y="767"/>
                  </a:cubicBezTo>
                  <a:cubicBezTo>
                    <a:pt x="3690" y="453"/>
                    <a:pt x="2712" y="1"/>
                    <a:pt x="2363"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0" name="Google Shape;582;p24">
              <a:extLst>
                <a:ext uri="{FF2B5EF4-FFF2-40B4-BE49-F238E27FC236}">
                  <a16:creationId xmlns:a16="http://schemas.microsoft.com/office/drawing/2014/main" id="{D6BF2AEB-CC9D-4E31-8A30-7D610D8F2614}"/>
                </a:ext>
              </a:extLst>
            </p:cNvPr>
            <p:cNvSpPr/>
            <p:nvPr/>
          </p:nvSpPr>
          <p:spPr>
            <a:xfrm>
              <a:off x="4338850" y="1998350"/>
              <a:ext cx="363200" cy="278825"/>
            </a:xfrm>
            <a:custGeom>
              <a:avLst/>
              <a:gdLst/>
              <a:ahLst/>
              <a:cxnLst/>
              <a:rect l="l" t="t" r="r" b="b"/>
              <a:pathLst>
                <a:path w="14528" h="11153" extrusionOk="0">
                  <a:moveTo>
                    <a:pt x="13733" y="1"/>
                  </a:moveTo>
                  <a:cubicBezTo>
                    <a:pt x="13441" y="128"/>
                    <a:pt x="12715" y="170"/>
                    <a:pt x="11844" y="170"/>
                  </a:cubicBezTo>
                  <a:cubicBezTo>
                    <a:pt x="10186" y="170"/>
                    <a:pt x="8001" y="18"/>
                    <a:pt x="7282" y="18"/>
                  </a:cubicBezTo>
                  <a:cubicBezTo>
                    <a:pt x="6045" y="18"/>
                    <a:pt x="3906" y="867"/>
                    <a:pt x="3588" y="1185"/>
                  </a:cubicBezTo>
                  <a:cubicBezTo>
                    <a:pt x="3270" y="1503"/>
                    <a:pt x="1" y="2104"/>
                    <a:pt x="1" y="2387"/>
                  </a:cubicBezTo>
                  <a:cubicBezTo>
                    <a:pt x="1" y="2687"/>
                    <a:pt x="213" y="5603"/>
                    <a:pt x="443" y="6098"/>
                  </a:cubicBezTo>
                  <a:cubicBezTo>
                    <a:pt x="655" y="6610"/>
                    <a:pt x="3853" y="7353"/>
                    <a:pt x="4030" y="7353"/>
                  </a:cubicBezTo>
                  <a:cubicBezTo>
                    <a:pt x="4184" y="7353"/>
                    <a:pt x="4352" y="6762"/>
                    <a:pt x="4544" y="6762"/>
                  </a:cubicBezTo>
                  <a:cubicBezTo>
                    <a:pt x="4572" y="6762"/>
                    <a:pt x="4601" y="6775"/>
                    <a:pt x="4631" y="6805"/>
                  </a:cubicBezTo>
                  <a:cubicBezTo>
                    <a:pt x="4825" y="6999"/>
                    <a:pt x="4331" y="8660"/>
                    <a:pt x="4136" y="9297"/>
                  </a:cubicBezTo>
                  <a:cubicBezTo>
                    <a:pt x="4988" y="8914"/>
                    <a:pt x="5960" y="8687"/>
                    <a:pt x="6566" y="8687"/>
                  </a:cubicBezTo>
                  <a:cubicBezTo>
                    <a:pt x="6827" y="8687"/>
                    <a:pt x="7020" y="8729"/>
                    <a:pt x="7105" y="8820"/>
                  </a:cubicBezTo>
                  <a:cubicBezTo>
                    <a:pt x="7529" y="9244"/>
                    <a:pt x="10587" y="11135"/>
                    <a:pt x="10923" y="11152"/>
                  </a:cubicBezTo>
                  <a:cubicBezTo>
                    <a:pt x="10930" y="11153"/>
                    <a:pt x="10939" y="11153"/>
                    <a:pt x="10948" y="11153"/>
                  </a:cubicBezTo>
                  <a:cubicBezTo>
                    <a:pt x="11371" y="11153"/>
                    <a:pt x="13827" y="10781"/>
                    <a:pt x="14068" y="10764"/>
                  </a:cubicBezTo>
                  <a:cubicBezTo>
                    <a:pt x="14334" y="10498"/>
                    <a:pt x="14493" y="10145"/>
                    <a:pt x="14528" y="9756"/>
                  </a:cubicBezTo>
                  <a:cubicBezTo>
                    <a:pt x="14528" y="9473"/>
                    <a:pt x="14281" y="8272"/>
                    <a:pt x="14033" y="6982"/>
                  </a:cubicBezTo>
                  <a:cubicBezTo>
                    <a:pt x="13715" y="5320"/>
                    <a:pt x="13344" y="3447"/>
                    <a:pt x="13344" y="2864"/>
                  </a:cubicBezTo>
                  <a:cubicBezTo>
                    <a:pt x="13344" y="2015"/>
                    <a:pt x="13627" y="495"/>
                    <a:pt x="13733"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1" name="Google Shape;583;p24">
              <a:extLst>
                <a:ext uri="{FF2B5EF4-FFF2-40B4-BE49-F238E27FC236}">
                  <a16:creationId xmlns:a16="http://schemas.microsoft.com/office/drawing/2014/main" id="{AA130F18-6A54-4486-A780-A97827A66A3B}"/>
                </a:ext>
              </a:extLst>
            </p:cNvPr>
            <p:cNvSpPr/>
            <p:nvPr/>
          </p:nvSpPr>
          <p:spPr>
            <a:xfrm>
              <a:off x="1956950" y="2991602"/>
              <a:ext cx="1139500" cy="1242876"/>
            </a:xfrm>
            <a:custGeom>
              <a:avLst/>
              <a:gdLst/>
              <a:ahLst/>
              <a:cxnLst/>
              <a:rect l="l" t="t" r="r" b="b"/>
              <a:pathLst>
                <a:path w="45580" h="49715" extrusionOk="0">
                  <a:moveTo>
                    <a:pt x="26722" y="0"/>
                  </a:moveTo>
                  <a:cubicBezTo>
                    <a:pt x="25291" y="0"/>
                    <a:pt x="25856" y="672"/>
                    <a:pt x="25538" y="1520"/>
                  </a:cubicBezTo>
                  <a:cubicBezTo>
                    <a:pt x="25220" y="2351"/>
                    <a:pt x="24336" y="3994"/>
                    <a:pt x="24955" y="4383"/>
                  </a:cubicBezTo>
                  <a:cubicBezTo>
                    <a:pt x="25556" y="4790"/>
                    <a:pt x="24866" y="4913"/>
                    <a:pt x="23841" y="5108"/>
                  </a:cubicBezTo>
                  <a:cubicBezTo>
                    <a:pt x="23660" y="5146"/>
                    <a:pt x="23426" y="5161"/>
                    <a:pt x="23161" y="5161"/>
                  </a:cubicBezTo>
                  <a:cubicBezTo>
                    <a:pt x="22100" y="5161"/>
                    <a:pt x="20542" y="4916"/>
                    <a:pt x="19886" y="4916"/>
                  </a:cubicBezTo>
                  <a:cubicBezTo>
                    <a:pt x="19796" y="4916"/>
                    <a:pt x="19723" y="4920"/>
                    <a:pt x="19670" y="4931"/>
                  </a:cubicBezTo>
                  <a:cubicBezTo>
                    <a:pt x="19123" y="5037"/>
                    <a:pt x="19458" y="5815"/>
                    <a:pt x="19123" y="6115"/>
                  </a:cubicBezTo>
                  <a:cubicBezTo>
                    <a:pt x="18769" y="6398"/>
                    <a:pt x="18893" y="6751"/>
                    <a:pt x="19317" y="6751"/>
                  </a:cubicBezTo>
                  <a:cubicBezTo>
                    <a:pt x="19741" y="6751"/>
                    <a:pt x="19900" y="7105"/>
                    <a:pt x="19017" y="7281"/>
                  </a:cubicBezTo>
                  <a:cubicBezTo>
                    <a:pt x="18859" y="7316"/>
                    <a:pt x="18715" y="7332"/>
                    <a:pt x="18580" y="7332"/>
                  </a:cubicBezTo>
                  <a:cubicBezTo>
                    <a:pt x="17956" y="7332"/>
                    <a:pt x="17516" y="6989"/>
                    <a:pt x="16790" y="6539"/>
                  </a:cubicBezTo>
                  <a:cubicBezTo>
                    <a:pt x="15906" y="5991"/>
                    <a:pt x="15941" y="6274"/>
                    <a:pt x="15288" y="6044"/>
                  </a:cubicBezTo>
                  <a:cubicBezTo>
                    <a:pt x="14634" y="5815"/>
                    <a:pt x="14298" y="5620"/>
                    <a:pt x="14298" y="5249"/>
                  </a:cubicBezTo>
                  <a:cubicBezTo>
                    <a:pt x="14298" y="4896"/>
                    <a:pt x="14899" y="4542"/>
                    <a:pt x="14704" y="4348"/>
                  </a:cubicBezTo>
                  <a:cubicBezTo>
                    <a:pt x="14510" y="4153"/>
                    <a:pt x="13679" y="4118"/>
                    <a:pt x="13379" y="4118"/>
                  </a:cubicBezTo>
                  <a:cubicBezTo>
                    <a:pt x="13096" y="4118"/>
                    <a:pt x="13096" y="3376"/>
                    <a:pt x="12637" y="3199"/>
                  </a:cubicBezTo>
                  <a:cubicBezTo>
                    <a:pt x="12594" y="3183"/>
                    <a:pt x="12555" y="3175"/>
                    <a:pt x="12520" y="3175"/>
                  </a:cubicBezTo>
                  <a:cubicBezTo>
                    <a:pt x="12171" y="3175"/>
                    <a:pt x="12142" y="3907"/>
                    <a:pt x="12142" y="4259"/>
                  </a:cubicBezTo>
                  <a:cubicBezTo>
                    <a:pt x="12142" y="4648"/>
                    <a:pt x="12478" y="5497"/>
                    <a:pt x="12743" y="6097"/>
                  </a:cubicBezTo>
                  <a:cubicBezTo>
                    <a:pt x="13025" y="6681"/>
                    <a:pt x="12371" y="6840"/>
                    <a:pt x="12159" y="7246"/>
                  </a:cubicBezTo>
                  <a:cubicBezTo>
                    <a:pt x="11965" y="7653"/>
                    <a:pt x="12654" y="8907"/>
                    <a:pt x="12389" y="9597"/>
                  </a:cubicBezTo>
                  <a:cubicBezTo>
                    <a:pt x="12335" y="9731"/>
                    <a:pt x="12228" y="9787"/>
                    <a:pt x="12084" y="9787"/>
                  </a:cubicBezTo>
                  <a:cubicBezTo>
                    <a:pt x="11474" y="9787"/>
                    <a:pt x="10211" y="8776"/>
                    <a:pt x="9668" y="8519"/>
                  </a:cubicBezTo>
                  <a:cubicBezTo>
                    <a:pt x="9504" y="8443"/>
                    <a:pt x="9350" y="8415"/>
                    <a:pt x="9201" y="8415"/>
                  </a:cubicBezTo>
                  <a:cubicBezTo>
                    <a:pt x="8723" y="8415"/>
                    <a:pt x="8306" y="8713"/>
                    <a:pt x="7847" y="8713"/>
                  </a:cubicBezTo>
                  <a:cubicBezTo>
                    <a:pt x="7264" y="8713"/>
                    <a:pt x="7953" y="7776"/>
                    <a:pt x="7812" y="7370"/>
                  </a:cubicBezTo>
                  <a:cubicBezTo>
                    <a:pt x="7670" y="6946"/>
                    <a:pt x="6769" y="6256"/>
                    <a:pt x="6363" y="6256"/>
                  </a:cubicBezTo>
                  <a:cubicBezTo>
                    <a:pt x="5956" y="6256"/>
                    <a:pt x="5638" y="6433"/>
                    <a:pt x="4931" y="6628"/>
                  </a:cubicBezTo>
                  <a:cubicBezTo>
                    <a:pt x="4832" y="6652"/>
                    <a:pt x="4707" y="6663"/>
                    <a:pt x="4561" y="6663"/>
                  </a:cubicBezTo>
                  <a:cubicBezTo>
                    <a:pt x="3668" y="6663"/>
                    <a:pt x="2028" y="6252"/>
                    <a:pt x="1237" y="6115"/>
                  </a:cubicBezTo>
                  <a:cubicBezTo>
                    <a:pt x="1130" y="6096"/>
                    <a:pt x="1039" y="6087"/>
                    <a:pt x="961" y="6087"/>
                  </a:cubicBezTo>
                  <a:cubicBezTo>
                    <a:pt x="384" y="6087"/>
                    <a:pt x="554" y="6579"/>
                    <a:pt x="601" y="7140"/>
                  </a:cubicBezTo>
                  <a:cubicBezTo>
                    <a:pt x="672" y="7776"/>
                    <a:pt x="1450" y="7494"/>
                    <a:pt x="1856" y="7882"/>
                  </a:cubicBezTo>
                  <a:cubicBezTo>
                    <a:pt x="2245" y="8289"/>
                    <a:pt x="1944" y="8448"/>
                    <a:pt x="1467" y="8695"/>
                  </a:cubicBezTo>
                  <a:cubicBezTo>
                    <a:pt x="1334" y="8769"/>
                    <a:pt x="1162" y="8787"/>
                    <a:pt x="982" y="8787"/>
                  </a:cubicBezTo>
                  <a:cubicBezTo>
                    <a:pt x="817" y="8787"/>
                    <a:pt x="646" y="8772"/>
                    <a:pt x="494" y="8772"/>
                  </a:cubicBezTo>
                  <a:cubicBezTo>
                    <a:pt x="216" y="8772"/>
                    <a:pt x="0" y="8822"/>
                    <a:pt x="0" y="9102"/>
                  </a:cubicBezTo>
                  <a:cubicBezTo>
                    <a:pt x="0" y="9720"/>
                    <a:pt x="442" y="9826"/>
                    <a:pt x="637" y="10021"/>
                  </a:cubicBezTo>
                  <a:cubicBezTo>
                    <a:pt x="831" y="10215"/>
                    <a:pt x="513" y="11117"/>
                    <a:pt x="1397" y="11117"/>
                  </a:cubicBezTo>
                  <a:cubicBezTo>
                    <a:pt x="2404" y="11117"/>
                    <a:pt x="3358" y="11541"/>
                    <a:pt x="4030" y="12283"/>
                  </a:cubicBezTo>
                  <a:cubicBezTo>
                    <a:pt x="4772" y="13096"/>
                    <a:pt x="5726" y="13379"/>
                    <a:pt x="6380" y="14050"/>
                  </a:cubicBezTo>
                  <a:cubicBezTo>
                    <a:pt x="7034" y="14704"/>
                    <a:pt x="6875" y="14828"/>
                    <a:pt x="6681" y="14828"/>
                  </a:cubicBezTo>
                  <a:cubicBezTo>
                    <a:pt x="6469" y="14828"/>
                    <a:pt x="6027" y="15747"/>
                    <a:pt x="6822" y="15747"/>
                  </a:cubicBezTo>
                  <a:cubicBezTo>
                    <a:pt x="7600" y="15747"/>
                    <a:pt x="7564" y="16277"/>
                    <a:pt x="7971" y="16701"/>
                  </a:cubicBezTo>
                  <a:cubicBezTo>
                    <a:pt x="8377" y="17108"/>
                    <a:pt x="7759" y="19175"/>
                    <a:pt x="7759" y="19617"/>
                  </a:cubicBezTo>
                  <a:cubicBezTo>
                    <a:pt x="7759" y="20059"/>
                    <a:pt x="9632" y="22427"/>
                    <a:pt x="9632" y="22975"/>
                  </a:cubicBezTo>
                  <a:cubicBezTo>
                    <a:pt x="9632" y="23523"/>
                    <a:pt x="9261" y="23046"/>
                    <a:pt x="8961" y="23717"/>
                  </a:cubicBezTo>
                  <a:cubicBezTo>
                    <a:pt x="8660" y="24407"/>
                    <a:pt x="9827" y="26227"/>
                    <a:pt x="9614" y="26439"/>
                  </a:cubicBezTo>
                  <a:cubicBezTo>
                    <a:pt x="9581" y="26473"/>
                    <a:pt x="9545" y="26487"/>
                    <a:pt x="9509" y="26487"/>
                  </a:cubicBezTo>
                  <a:cubicBezTo>
                    <a:pt x="9339" y="26487"/>
                    <a:pt x="9144" y="26183"/>
                    <a:pt x="8964" y="26183"/>
                  </a:cubicBezTo>
                  <a:cubicBezTo>
                    <a:pt x="8920" y="26183"/>
                    <a:pt x="8878" y="26201"/>
                    <a:pt x="8837" y="26245"/>
                  </a:cubicBezTo>
                  <a:cubicBezTo>
                    <a:pt x="8572" y="26492"/>
                    <a:pt x="7476" y="30274"/>
                    <a:pt x="7264" y="31511"/>
                  </a:cubicBezTo>
                  <a:cubicBezTo>
                    <a:pt x="7052" y="32731"/>
                    <a:pt x="4825" y="35541"/>
                    <a:pt x="4525" y="36142"/>
                  </a:cubicBezTo>
                  <a:cubicBezTo>
                    <a:pt x="4348" y="36442"/>
                    <a:pt x="4083" y="36654"/>
                    <a:pt x="3765" y="36760"/>
                  </a:cubicBezTo>
                  <a:cubicBezTo>
                    <a:pt x="3729" y="36778"/>
                    <a:pt x="3694" y="36796"/>
                    <a:pt x="3659" y="36813"/>
                  </a:cubicBezTo>
                  <a:lnTo>
                    <a:pt x="3871" y="37715"/>
                  </a:lnTo>
                  <a:cubicBezTo>
                    <a:pt x="4224" y="38015"/>
                    <a:pt x="7476" y="41108"/>
                    <a:pt x="8006" y="41620"/>
                  </a:cubicBezTo>
                  <a:cubicBezTo>
                    <a:pt x="8165" y="41797"/>
                    <a:pt x="10074" y="42469"/>
                    <a:pt x="11117" y="42575"/>
                  </a:cubicBezTo>
                  <a:cubicBezTo>
                    <a:pt x="11123" y="42576"/>
                    <a:pt x="11129" y="42576"/>
                    <a:pt x="11136" y="42576"/>
                  </a:cubicBezTo>
                  <a:cubicBezTo>
                    <a:pt x="11345" y="42576"/>
                    <a:pt x="11900" y="42116"/>
                    <a:pt x="12093" y="42116"/>
                  </a:cubicBezTo>
                  <a:cubicBezTo>
                    <a:pt x="12114" y="42116"/>
                    <a:pt x="12130" y="42121"/>
                    <a:pt x="12142" y="42133"/>
                  </a:cubicBezTo>
                  <a:lnTo>
                    <a:pt x="12177" y="42168"/>
                  </a:lnTo>
                  <a:cubicBezTo>
                    <a:pt x="15676" y="45685"/>
                    <a:pt x="18575" y="48424"/>
                    <a:pt x="20183" y="49715"/>
                  </a:cubicBezTo>
                  <a:cubicBezTo>
                    <a:pt x="20766" y="49379"/>
                    <a:pt x="21243" y="49043"/>
                    <a:pt x="21296" y="48796"/>
                  </a:cubicBezTo>
                  <a:cubicBezTo>
                    <a:pt x="21508" y="48089"/>
                    <a:pt x="20908" y="44360"/>
                    <a:pt x="21208" y="44077"/>
                  </a:cubicBezTo>
                  <a:cubicBezTo>
                    <a:pt x="21491" y="43776"/>
                    <a:pt x="25202" y="42133"/>
                    <a:pt x="25785" y="42133"/>
                  </a:cubicBezTo>
                  <a:cubicBezTo>
                    <a:pt x="26369" y="42133"/>
                    <a:pt x="31176" y="44784"/>
                    <a:pt x="31458" y="45049"/>
                  </a:cubicBezTo>
                  <a:cubicBezTo>
                    <a:pt x="31759" y="45332"/>
                    <a:pt x="35240" y="45526"/>
                    <a:pt x="35506" y="45526"/>
                  </a:cubicBezTo>
                  <a:cubicBezTo>
                    <a:pt x="35771" y="45526"/>
                    <a:pt x="37591" y="43547"/>
                    <a:pt x="37874" y="43264"/>
                  </a:cubicBezTo>
                  <a:cubicBezTo>
                    <a:pt x="37997" y="43140"/>
                    <a:pt x="38793" y="43052"/>
                    <a:pt x="39376" y="43034"/>
                  </a:cubicBezTo>
                  <a:lnTo>
                    <a:pt x="39305" y="43034"/>
                  </a:lnTo>
                  <a:cubicBezTo>
                    <a:pt x="39305" y="42893"/>
                    <a:pt x="39217" y="42451"/>
                    <a:pt x="39341" y="42133"/>
                  </a:cubicBezTo>
                  <a:cubicBezTo>
                    <a:pt x="39482" y="41744"/>
                    <a:pt x="40207" y="41620"/>
                    <a:pt x="40207" y="40984"/>
                  </a:cubicBezTo>
                  <a:cubicBezTo>
                    <a:pt x="40207" y="40825"/>
                    <a:pt x="39535" y="40807"/>
                    <a:pt x="39358" y="40648"/>
                  </a:cubicBezTo>
                  <a:cubicBezTo>
                    <a:pt x="39023" y="40383"/>
                    <a:pt x="38139" y="39659"/>
                    <a:pt x="38121" y="39500"/>
                  </a:cubicBezTo>
                  <a:cubicBezTo>
                    <a:pt x="38192" y="39252"/>
                    <a:pt x="38298" y="39022"/>
                    <a:pt x="38404" y="38793"/>
                  </a:cubicBezTo>
                  <a:cubicBezTo>
                    <a:pt x="38863" y="37821"/>
                    <a:pt x="39164" y="37114"/>
                    <a:pt x="38934" y="36884"/>
                  </a:cubicBezTo>
                  <a:cubicBezTo>
                    <a:pt x="38581" y="36513"/>
                    <a:pt x="37785" y="34604"/>
                    <a:pt x="37997" y="34498"/>
                  </a:cubicBezTo>
                  <a:cubicBezTo>
                    <a:pt x="39129" y="33933"/>
                    <a:pt x="38916" y="33544"/>
                    <a:pt x="38916" y="33332"/>
                  </a:cubicBezTo>
                  <a:cubicBezTo>
                    <a:pt x="38916" y="33208"/>
                    <a:pt x="39005" y="31829"/>
                    <a:pt x="38952" y="31564"/>
                  </a:cubicBezTo>
                  <a:cubicBezTo>
                    <a:pt x="38952" y="31176"/>
                    <a:pt x="38492" y="28419"/>
                    <a:pt x="38227" y="28366"/>
                  </a:cubicBezTo>
                  <a:cubicBezTo>
                    <a:pt x="37838" y="28454"/>
                    <a:pt x="37467" y="28578"/>
                    <a:pt x="37114" y="28737"/>
                  </a:cubicBezTo>
                  <a:cubicBezTo>
                    <a:pt x="36813" y="28878"/>
                    <a:pt x="36478" y="28984"/>
                    <a:pt x="36142" y="29055"/>
                  </a:cubicBezTo>
                  <a:cubicBezTo>
                    <a:pt x="36071" y="29055"/>
                    <a:pt x="36018" y="29002"/>
                    <a:pt x="35983" y="28931"/>
                  </a:cubicBezTo>
                  <a:cubicBezTo>
                    <a:pt x="35841" y="28578"/>
                    <a:pt x="36495" y="26846"/>
                    <a:pt x="36796" y="26563"/>
                  </a:cubicBezTo>
                  <a:cubicBezTo>
                    <a:pt x="36955" y="26386"/>
                    <a:pt x="37997" y="25679"/>
                    <a:pt x="39005" y="24990"/>
                  </a:cubicBezTo>
                  <a:cubicBezTo>
                    <a:pt x="39835" y="24424"/>
                    <a:pt x="40684" y="23841"/>
                    <a:pt x="40772" y="23753"/>
                  </a:cubicBezTo>
                  <a:cubicBezTo>
                    <a:pt x="40861" y="23647"/>
                    <a:pt x="42893" y="22551"/>
                    <a:pt x="43211" y="22374"/>
                  </a:cubicBezTo>
                  <a:lnTo>
                    <a:pt x="43246" y="22357"/>
                  </a:lnTo>
                  <a:cubicBezTo>
                    <a:pt x="43246" y="22321"/>
                    <a:pt x="43246" y="22304"/>
                    <a:pt x="43246" y="22268"/>
                  </a:cubicBezTo>
                  <a:cubicBezTo>
                    <a:pt x="43335" y="21579"/>
                    <a:pt x="44201" y="17055"/>
                    <a:pt x="44537" y="16719"/>
                  </a:cubicBezTo>
                  <a:cubicBezTo>
                    <a:pt x="45067" y="16189"/>
                    <a:pt x="45526" y="15623"/>
                    <a:pt x="45579" y="15464"/>
                  </a:cubicBezTo>
                  <a:cubicBezTo>
                    <a:pt x="45067" y="15093"/>
                    <a:pt x="44537" y="14740"/>
                    <a:pt x="43989" y="14421"/>
                  </a:cubicBezTo>
                  <a:cubicBezTo>
                    <a:pt x="41868" y="13096"/>
                    <a:pt x="40967" y="12495"/>
                    <a:pt x="40967" y="12177"/>
                  </a:cubicBezTo>
                  <a:cubicBezTo>
                    <a:pt x="40967" y="11947"/>
                    <a:pt x="40631" y="10975"/>
                    <a:pt x="40348" y="10109"/>
                  </a:cubicBezTo>
                  <a:cubicBezTo>
                    <a:pt x="40083" y="9367"/>
                    <a:pt x="39712" y="8483"/>
                    <a:pt x="39641" y="8183"/>
                  </a:cubicBezTo>
                  <a:cubicBezTo>
                    <a:pt x="39623" y="8289"/>
                    <a:pt x="39464" y="8377"/>
                    <a:pt x="39270" y="8448"/>
                  </a:cubicBezTo>
                  <a:cubicBezTo>
                    <a:pt x="39058" y="8519"/>
                    <a:pt x="38828" y="8554"/>
                    <a:pt x="38616" y="8572"/>
                  </a:cubicBezTo>
                  <a:cubicBezTo>
                    <a:pt x="38492" y="8678"/>
                    <a:pt x="38510" y="10480"/>
                    <a:pt x="38528" y="11170"/>
                  </a:cubicBezTo>
                  <a:cubicBezTo>
                    <a:pt x="38528" y="11249"/>
                    <a:pt x="38388" y="11259"/>
                    <a:pt x="38274" y="11259"/>
                  </a:cubicBezTo>
                  <a:cubicBezTo>
                    <a:pt x="38236" y="11259"/>
                    <a:pt x="38201" y="11258"/>
                    <a:pt x="38174" y="11258"/>
                  </a:cubicBezTo>
                  <a:cubicBezTo>
                    <a:pt x="38033" y="11258"/>
                    <a:pt x="37326" y="9296"/>
                    <a:pt x="37185" y="9155"/>
                  </a:cubicBezTo>
                  <a:cubicBezTo>
                    <a:pt x="37155" y="9128"/>
                    <a:pt x="37108" y="9117"/>
                    <a:pt x="37049" y="9117"/>
                  </a:cubicBezTo>
                  <a:cubicBezTo>
                    <a:pt x="36796" y="9117"/>
                    <a:pt x="36311" y="9312"/>
                    <a:pt x="35882" y="9312"/>
                  </a:cubicBezTo>
                  <a:cubicBezTo>
                    <a:pt x="35748" y="9312"/>
                    <a:pt x="35620" y="9293"/>
                    <a:pt x="35506" y="9243"/>
                  </a:cubicBezTo>
                  <a:cubicBezTo>
                    <a:pt x="35152" y="9119"/>
                    <a:pt x="34799" y="8943"/>
                    <a:pt x="34481" y="8731"/>
                  </a:cubicBezTo>
                  <a:cubicBezTo>
                    <a:pt x="33809" y="8059"/>
                    <a:pt x="33102" y="7953"/>
                    <a:pt x="32731" y="6345"/>
                  </a:cubicBezTo>
                  <a:cubicBezTo>
                    <a:pt x="32607" y="5850"/>
                    <a:pt x="30522" y="3022"/>
                    <a:pt x="29249" y="2227"/>
                  </a:cubicBezTo>
                  <a:cubicBezTo>
                    <a:pt x="28613" y="1838"/>
                    <a:pt x="28224" y="902"/>
                    <a:pt x="27959" y="36"/>
                  </a:cubicBezTo>
                  <a:lnTo>
                    <a:pt x="27641" y="18"/>
                  </a:lnTo>
                  <a:cubicBezTo>
                    <a:pt x="27341" y="18"/>
                    <a:pt x="27040" y="0"/>
                    <a:pt x="26722"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2" name="Google Shape;584;p24">
              <a:extLst>
                <a:ext uri="{FF2B5EF4-FFF2-40B4-BE49-F238E27FC236}">
                  <a16:creationId xmlns:a16="http://schemas.microsoft.com/office/drawing/2014/main" id="{9BC7D120-5782-44C1-9E80-1F29FA749749}"/>
                </a:ext>
              </a:extLst>
            </p:cNvPr>
            <p:cNvSpPr/>
            <p:nvPr/>
          </p:nvSpPr>
          <p:spPr>
            <a:xfrm>
              <a:off x="2873325" y="3684375"/>
              <a:ext cx="1114300" cy="1272925"/>
            </a:xfrm>
            <a:custGeom>
              <a:avLst/>
              <a:gdLst/>
              <a:ahLst/>
              <a:cxnLst/>
              <a:rect l="l" t="t" r="r" b="b"/>
              <a:pathLst>
                <a:path w="44572" h="50917" extrusionOk="0">
                  <a:moveTo>
                    <a:pt x="17885" y="0"/>
                  </a:moveTo>
                  <a:cubicBezTo>
                    <a:pt x="17620" y="0"/>
                    <a:pt x="17479" y="336"/>
                    <a:pt x="17461" y="689"/>
                  </a:cubicBezTo>
                  <a:cubicBezTo>
                    <a:pt x="17435" y="985"/>
                    <a:pt x="17214" y="1038"/>
                    <a:pt x="17006" y="1038"/>
                  </a:cubicBezTo>
                  <a:cubicBezTo>
                    <a:pt x="16928" y="1038"/>
                    <a:pt x="16852" y="1030"/>
                    <a:pt x="16789" y="1025"/>
                  </a:cubicBezTo>
                  <a:cubicBezTo>
                    <a:pt x="16657" y="1016"/>
                    <a:pt x="16524" y="1012"/>
                    <a:pt x="16392" y="1012"/>
                  </a:cubicBezTo>
                  <a:cubicBezTo>
                    <a:pt x="16259" y="1012"/>
                    <a:pt x="16127" y="1016"/>
                    <a:pt x="15994" y="1025"/>
                  </a:cubicBezTo>
                  <a:cubicBezTo>
                    <a:pt x="15340" y="1025"/>
                    <a:pt x="13767" y="1308"/>
                    <a:pt x="13485" y="1626"/>
                  </a:cubicBezTo>
                  <a:cubicBezTo>
                    <a:pt x="13432" y="1697"/>
                    <a:pt x="13007" y="2740"/>
                    <a:pt x="12371" y="2863"/>
                  </a:cubicBezTo>
                  <a:cubicBezTo>
                    <a:pt x="12056" y="2929"/>
                    <a:pt x="11684" y="2941"/>
                    <a:pt x="11330" y="2941"/>
                  </a:cubicBezTo>
                  <a:cubicBezTo>
                    <a:pt x="11127" y="2941"/>
                    <a:pt x="10930" y="2937"/>
                    <a:pt x="10752" y="2937"/>
                  </a:cubicBezTo>
                  <a:cubicBezTo>
                    <a:pt x="10406" y="2937"/>
                    <a:pt x="10134" y="2952"/>
                    <a:pt x="10038" y="3040"/>
                  </a:cubicBezTo>
                  <a:cubicBezTo>
                    <a:pt x="9968" y="3128"/>
                    <a:pt x="9579" y="3924"/>
                    <a:pt x="9261" y="4365"/>
                  </a:cubicBezTo>
                  <a:cubicBezTo>
                    <a:pt x="9199" y="4436"/>
                    <a:pt x="9097" y="4454"/>
                    <a:pt x="9000" y="4454"/>
                  </a:cubicBezTo>
                  <a:cubicBezTo>
                    <a:pt x="8903" y="4454"/>
                    <a:pt x="8810" y="4436"/>
                    <a:pt x="8766" y="4436"/>
                  </a:cubicBezTo>
                  <a:cubicBezTo>
                    <a:pt x="8589" y="4436"/>
                    <a:pt x="8448" y="3287"/>
                    <a:pt x="8147" y="2740"/>
                  </a:cubicBezTo>
                  <a:cubicBezTo>
                    <a:pt x="8041" y="2527"/>
                    <a:pt x="7847" y="2386"/>
                    <a:pt x="7635" y="2351"/>
                  </a:cubicBezTo>
                  <a:cubicBezTo>
                    <a:pt x="7573" y="2342"/>
                    <a:pt x="7516" y="2342"/>
                    <a:pt x="7474" y="2342"/>
                  </a:cubicBezTo>
                  <a:cubicBezTo>
                    <a:pt x="7432" y="2342"/>
                    <a:pt x="7405" y="2342"/>
                    <a:pt x="7405" y="2333"/>
                  </a:cubicBezTo>
                  <a:cubicBezTo>
                    <a:pt x="7281" y="2351"/>
                    <a:pt x="6787" y="2846"/>
                    <a:pt x="6415" y="3199"/>
                  </a:cubicBezTo>
                  <a:cubicBezTo>
                    <a:pt x="5708" y="3871"/>
                    <a:pt x="5355" y="4206"/>
                    <a:pt x="5143" y="4206"/>
                  </a:cubicBezTo>
                  <a:cubicBezTo>
                    <a:pt x="4825" y="4206"/>
                    <a:pt x="1785" y="4030"/>
                    <a:pt x="1166" y="3994"/>
                  </a:cubicBezTo>
                  <a:lnTo>
                    <a:pt x="1166" y="3994"/>
                  </a:lnTo>
                  <a:cubicBezTo>
                    <a:pt x="1220" y="4259"/>
                    <a:pt x="1131" y="5638"/>
                    <a:pt x="1131" y="5762"/>
                  </a:cubicBezTo>
                  <a:cubicBezTo>
                    <a:pt x="1131" y="5991"/>
                    <a:pt x="1343" y="6363"/>
                    <a:pt x="212" y="6910"/>
                  </a:cubicBezTo>
                  <a:cubicBezTo>
                    <a:pt x="0" y="7034"/>
                    <a:pt x="795" y="8943"/>
                    <a:pt x="1149" y="9314"/>
                  </a:cubicBezTo>
                  <a:cubicBezTo>
                    <a:pt x="1379" y="9544"/>
                    <a:pt x="1078" y="10251"/>
                    <a:pt x="619" y="11223"/>
                  </a:cubicBezTo>
                  <a:cubicBezTo>
                    <a:pt x="513" y="11452"/>
                    <a:pt x="407" y="11682"/>
                    <a:pt x="336" y="11930"/>
                  </a:cubicBezTo>
                  <a:cubicBezTo>
                    <a:pt x="354" y="12089"/>
                    <a:pt x="1237" y="12813"/>
                    <a:pt x="1573" y="13078"/>
                  </a:cubicBezTo>
                  <a:cubicBezTo>
                    <a:pt x="1750" y="13237"/>
                    <a:pt x="2421" y="13255"/>
                    <a:pt x="2421" y="13414"/>
                  </a:cubicBezTo>
                  <a:cubicBezTo>
                    <a:pt x="2421" y="14050"/>
                    <a:pt x="1697" y="14174"/>
                    <a:pt x="1555" y="14545"/>
                  </a:cubicBezTo>
                  <a:cubicBezTo>
                    <a:pt x="1432" y="14881"/>
                    <a:pt x="1520" y="15323"/>
                    <a:pt x="1520" y="15464"/>
                  </a:cubicBezTo>
                  <a:lnTo>
                    <a:pt x="1591" y="15464"/>
                  </a:lnTo>
                  <a:cubicBezTo>
                    <a:pt x="1944" y="15447"/>
                    <a:pt x="2306" y="15442"/>
                    <a:pt x="2622" y="15442"/>
                  </a:cubicBezTo>
                  <a:cubicBezTo>
                    <a:pt x="2938" y="15442"/>
                    <a:pt x="3208" y="15447"/>
                    <a:pt x="3376" y="15447"/>
                  </a:cubicBezTo>
                  <a:cubicBezTo>
                    <a:pt x="4065" y="15447"/>
                    <a:pt x="6062" y="13697"/>
                    <a:pt x="6645" y="13697"/>
                  </a:cubicBezTo>
                  <a:cubicBezTo>
                    <a:pt x="7228" y="13697"/>
                    <a:pt x="11629" y="16153"/>
                    <a:pt x="12088" y="16613"/>
                  </a:cubicBezTo>
                  <a:cubicBezTo>
                    <a:pt x="12548" y="17055"/>
                    <a:pt x="12248" y="21155"/>
                    <a:pt x="12636" y="22145"/>
                  </a:cubicBezTo>
                  <a:cubicBezTo>
                    <a:pt x="13007" y="23134"/>
                    <a:pt x="21738" y="31741"/>
                    <a:pt x="21985" y="31989"/>
                  </a:cubicBezTo>
                  <a:cubicBezTo>
                    <a:pt x="22250" y="32236"/>
                    <a:pt x="24919" y="32324"/>
                    <a:pt x="25326" y="32731"/>
                  </a:cubicBezTo>
                  <a:cubicBezTo>
                    <a:pt x="25732" y="33137"/>
                    <a:pt x="26404" y="35346"/>
                    <a:pt x="26757" y="35700"/>
                  </a:cubicBezTo>
                  <a:cubicBezTo>
                    <a:pt x="26821" y="35764"/>
                    <a:pt x="26924" y="35788"/>
                    <a:pt x="27050" y="35788"/>
                  </a:cubicBezTo>
                  <a:cubicBezTo>
                    <a:pt x="27433" y="35788"/>
                    <a:pt x="28037" y="35567"/>
                    <a:pt x="28476" y="35567"/>
                  </a:cubicBezTo>
                  <a:cubicBezTo>
                    <a:pt x="28650" y="35567"/>
                    <a:pt x="28798" y="35602"/>
                    <a:pt x="28896" y="35700"/>
                  </a:cubicBezTo>
                  <a:cubicBezTo>
                    <a:pt x="29320" y="36124"/>
                    <a:pt x="29125" y="37025"/>
                    <a:pt x="29373" y="37609"/>
                  </a:cubicBezTo>
                  <a:cubicBezTo>
                    <a:pt x="29638" y="38209"/>
                    <a:pt x="30203" y="38775"/>
                    <a:pt x="30575" y="39146"/>
                  </a:cubicBezTo>
                  <a:cubicBezTo>
                    <a:pt x="30946" y="39517"/>
                    <a:pt x="32271" y="39305"/>
                    <a:pt x="32731" y="39765"/>
                  </a:cubicBezTo>
                  <a:cubicBezTo>
                    <a:pt x="33190" y="40224"/>
                    <a:pt x="34339" y="44872"/>
                    <a:pt x="34339" y="45173"/>
                  </a:cubicBezTo>
                  <a:cubicBezTo>
                    <a:pt x="34339" y="45473"/>
                    <a:pt x="33597" y="45579"/>
                    <a:pt x="33420" y="45738"/>
                  </a:cubicBezTo>
                  <a:cubicBezTo>
                    <a:pt x="33243" y="45915"/>
                    <a:pt x="33137" y="48265"/>
                    <a:pt x="33137" y="48566"/>
                  </a:cubicBezTo>
                  <a:cubicBezTo>
                    <a:pt x="33137" y="48866"/>
                    <a:pt x="32236" y="49944"/>
                    <a:pt x="32236" y="50386"/>
                  </a:cubicBezTo>
                  <a:cubicBezTo>
                    <a:pt x="32236" y="50828"/>
                    <a:pt x="32960" y="50916"/>
                    <a:pt x="33278" y="50916"/>
                  </a:cubicBezTo>
                  <a:cubicBezTo>
                    <a:pt x="33579" y="50916"/>
                    <a:pt x="34639" y="49609"/>
                    <a:pt x="35010" y="49237"/>
                  </a:cubicBezTo>
                  <a:cubicBezTo>
                    <a:pt x="35364" y="48884"/>
                    <a:pt x="36124" y="48902"/>
                    <a:pt x="36124" y="48336"/>
                  </a:cubicBezTo>
                  <a:cubicBezTo>
                    <a:pt x="36124" y="47753"/>
                    <a:pt x="36212" y="46410"/>
                    <a:pt x="36495" y="46127"/>
                  </a:cubicBezTo>
                  <a:cubicBezTo>
                    <a:pt x="36764" y="45858"/>
                    <a:pt x="37556" y="45844"/>
                    <a:pt x="38011" y="45844"/>
                  </a:cubicBezTo>
                  <a:cubicBezTo>
                    <a:pt x="38065" y="45844"/>
                    <a:pt x="38113" y="45844"/>
                    <a:pt x="38156" y="45844"/>
                  </a:cubicBezTo>
                  <a:cubicBezTo>
                    <a:pt x="38563" y="45844"/>
                    <a:pt x="38492" y="43441"/>
                    <a:pt x="38492" y="42858"/>
                  </a:cubicBezTo>
                  <a:cubicBezTo>
                    <a:pt x="38492" y="42274"/>
                    <a:pt x="36601" y="41832"/>
                    <a:pt x="36389" y="41196"/>
                  </a:cubicBezTo>
                  <a:cubicBezTo>
                    <a:pt x="36195" y="40542"/>
                    <a:pt x="36866" y="38651"/>
                    <a:pt x="37343" y="38174"/>
                  </a:cubicBezTo>
                  <a:cubicBezTo>
                    <a:pt x="37713" y="37805"/>
                    <a:pt x="38103" y="37128"/>
                    <a:pt x="38539" y="37128"/>
                  </a:cubicBezTo>
                  <a:cubicBezTo>
                    <a:pt x="38667" y="37128"/>
                    <a:pt x="38798" y="37186"/>
                    <a:pt x="38934" y="37326"/>
                  </a:cubicBezTo>
                  <a:cubicBezTo>
                    <a:pt x="39552" y="37927"/>
                    <a:pt x="40189" y="38404"/>
                    <a:pt x="40843" y="38404"/>
                  </a:cubicBezTo>
                  <a:cubicBezTo>
                    <a:pt x="41479" y="38404"/>
                    <a:pt x="42062" y="38987"/>
                    <a:pt x="42062" y="39358"/>
                  </a:cubicBezTo>
                  <a:cubicBezTo>
                    <a:pt x="42062" y="39729"/>
                    <a:pt x="43193" y="40419"/>
                    <a:pt x="43582" y="40419"/>
                  </a:cubicBezTo>
                  <a:cubicBezTo>
                    <a:pt x="43988" y="40419"/>
                    <a:pt x="44572" y="39588"/>
                    <a:pt x="44572" y="39288"/>
                  </a:cubicBezTo>
                  <a:cubicBezTo>
                    <a:pt x="44572" y="38987"/>
                    <a:pt x="43988" y="38209"/>
                    <a:pt x="43511" y="38033"/>
                  </a:cubicBezTo>
                  <a:cubicBezTo>
                    <a:pt x="43034" y="37856"/>
                    <a:pt x="40843" y="35152"/>
                    <a:pt x="40401" y="34710"/>
                  </a:cubicBezTo>
                  <a:cubicBezTo>
                    <a:pt x="39959" y="34268"/>
                    <a:pt x="34551" y="32165"/>
                    <a:pt x="34286" y="31883"/>
                  </a:cubicBezTo>
                  <a:cubicBezTo>
                    <a:pt x="34021" y="31617"/>
                    <a:pt x="34321" y="30999"/>
                    <a:pt x="34692" y="30628"/>
                  </a:cubicBezTo>
                  <a:cubicBezTo>
                    <a:pt x="34922" y="30416"/>
                    <a:pt x="35116" y="30186"/>
                    <a:pt x="35311" y="29921"/>
                  </a:cubicBezTo>
                  <a:cubicBezTo>
                    <a:pt x="35488" y="29673"/>
                    <a:pt x="35240" y="29214"/>
                    <a:pt x="35046" y="29161"/>
                  </a:cubicBezTo>
                  <a:cubicBezTo>
                    <a:pt x="34197" y="29002"/>
                    <a:pt x="32306" y="28931"/>
                    <a:pt x="31882" y="28754"/>
                  </a:cubicBezTo>
                  <a:cubicBezTo>
                    <a:pt x="31334" y="28560"/>
                    <a:pt x="28206" y="26068"/>
                    <a:pt x="27323" y="25202"/>
                  </a:cubicBezTo>
                  <a:cubicBezTo>
                    <a:pt x="26439" y="24318"/>
                    <a:pt x="25926" y="20536"/>
                    <a:pt x="25520" y="19317"/>
                  </a:cubicBezTo>
                  <a:cubicBezTo>
                    <a:pt x="25308" y="18681"/>
                    <a:pt x="21367" y="16065"/>
                    <a:pt x="21031" y="15747"/>
                  </a:cubicBezTo>
                  <a:cubicBezTo>
                    <a:pt x="20713" y="15429"/>
                    <a:pt x="21031" y="12548"/>
                    <a:pt x="21031" y="12318"/>
                  </a:cubicBezTo>
                  <a:cubicBezTo>
                    <a:pt x="21031" y="12089"/>
                    <a:pt x="22056" y="11947"/>
                    <a:pt x="22056" y="11700"/>
                  </a:cubicBezTo>
                  <a:cubicBezTo>
                    <a:pt x="22056" y="11470"/>
                    <a:pt x="21243" y="10480"/>
                    <a:pt x="20907" y="10145"/>
                  </a:cubicBezTo>
                  <a:cubicBezTo>
                    <a:pt x="20554" y="9809"/>
                    <a:pt x="21137" y="9031"/>
                    <a:pt x="21438" y="8713"/>
                  </a:cubicBezTo>
                  <a:cubicBezTo>
                    <a:pt x="21553" y="8604"/>
                    <a:pt x="21829" y="8570"/>
                    <a:pt x="22152" y="8570"/>
                  </a:cubicBezTo>
                  <a:cubicBezTo>
                    <a:pt x="22721" y="8570"/>
                    <a:pt x="23432" y="8678"/>
                    <a:pt x="23647" y="8678"/>
                  </a:cubicBezTo>
                  <a:cubicBezTo>
                    <a:pt x="24000" y="8678"/>
                    <a:pt x="24672" y="7706"/>
                    <a:pt x="25078" y="7706"/>
                  </a:cubicBezTo>
                  <a:cubicBezTo>
                    <a:pt x="25379" y="7723"/>
                    <a:pt x="25661" y="7759"/>
                    <a:pt x="25944" y="7829"/>
                  </a:cubicBezTo>
                  <a:cubicBezTo>
                    <a:pt x="26015" y="6486"/>
                    <a:pt x="26121" y="4754"/>
                    <a:pt x="26121" y="3941"/>
                  </a:cubicBezTo>
                  <a:lnTo>
                    <a:pt x="26068" y="3941"/>
                  </a:lnTo>
                  <a:cubicBezTo>
                    <a:pt x="25661" y="3623"/>
                    <a:pt x="22851" y="2404"/>
                    <a:pt x="22498" y="2404"/>
                  </a:cubicBezTo>
                  <a:cubicBezTo>
                    <a:pt x="22357" y="2404"/>
                    <a:pt x="22091" y="1573"/>
                    <a:pt x="21985" y="1220"/>
                  </a:cubicBezTo>
                  <a:cubicBezTo>
                    <a:pt x="21844" y="778"/>
                    <a:pt x="21756" y="530"/>
                    <a:pt x="21667" y="442"/>
                  </a:cubicBezTo>
                  <a:cubicBezTo>
                    <a:pt x="21402" y="177"/>
                    <a:pt x="17921" y="0"/>
                    <a:pt x="17885"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3" name="Google Shape;585;p24">
              <a:extLst>
                <a:ext uri="{FF2B5EF4-FFF2-40B4-BE49-F238E27FC236}">
                  <a16:creationId xmlns:a16="http://schemas.microsoft.com/office/drawing/2014/main" id="{63FA4EF7-8EE1-4E95-B15E-B5BCE1B5B6F3}"/>
                </a:ext>
              </a:extLst>
            </p:cNvPr>
            <p:cNvSpPr/>
            <p:nvPr/>
          </p:nvSpPr>
          <p:spPr>
            <a:xfrm>
              <a:off x="4046800" y="4319275"/>
              <a:ext cx="183825" cy="406500"/>
            </a:xfrm>
            <a:custGeom>
              <a:avLst/>
              <a:gdLst/>
              <a:ahLst/>
              <a:cxnLst/>
              <a:rect l="l" t="t" r="r" b="b"/>
              <a:pathLst>
                <a:path w="7353" h="16260" extrusionOk="0">
                  <a:moveTo>
                    <a:pt x="2316" y="0"/>
                  </a:moveTo>
                  <a:cubicBezTo>
                    <a:pt x="2281" y="160"/>
                    <a:pt x="2245" y="319"/>
                    <a:pt x="2245" y="478"/>
                  </a:cubicBezTo>
                  <a:cubicBezTo>
                    <a:pt x="2245" y="637"/>
                    <a:pt x="1061" y="2316"/>
                    <a:pt x="1" y="3747"/>
                  </a:cubicBezTo>
                  <a:cubicBezTo>
                    <a:pt x="566" y="4507"/>
                    <a:pt x="1962" y="5020"/>
                    <a:pt x="2104" y="5568"/>
                  </a:cubicBezTo>
                  <a:cubicBezTo>
                    <a:pt x="2281" y="6186"/>
                    <a:pt x="1538" y="6451"/>
                    <a:pt x="1538" y="6893"/>
                  </a:cubicBezTo>
                  <a:cubicBezTo>
                    <a:pt x="1538" y="7335"/>
                    <a:pt x="1061" y="12354"/>
                    <a:pt x="1061" y="12690"/>
                  </a:cubicBezTo>
                  <a:cubicBezTo>
                    <a:pt x="1061" y="13043"/>
                    <a:pt x="2139" y="14157"/>
                    <a:pt x="2793" y="14492"/>
                  </a:cubicBezTo>
                  <a:cubicBezTo>
                    <a:pt x="3306" y="14775"/>
                    <a:pt x="3836" y="15889"/>
                    <a:pt x="3924" y="16260"/>
                  </a:cubicBezTo>
                  <a:cubicBezTo>
                    <a:pt x="4225" y="15959"/>
                    <a:pt x="5002" y="14351"/>
                    <a:pt x="5232" y="14139"/>
                  </a:cubicBezTo>
                  <a:cubicBezTo>
                    <a:pt x="5373" y="14015"/>
                    <a:pt x="5621" y="14015"/>
                    <a:pt x="5886" y="14015"/>
                  </a:cubicBezTo>
                  <a:cubicBezTo>
                    <a:pt x="6186" y="14015"/>
                    <a:pt x="6504" y="14015"/>
                    <a:pt x="6646" y="13821"/>
                  </a:cubicBezTo>
                  <a:cubicBezTo>
                    <a:pt x="6911" y="13432"/>
                    <a:pt x="7353" y="10198"/>
                    <a:pt x="7353" y="9862"/>
                  </a:cubicBezTo>
                  <a:cubicBezTo>
                    <a:pt x="7335" y="9844"/>
                    <a:pt x="7335" y="9827"/>
                    <a:pt x="7317" y="9809"/>
                  </a:cubicBezTo>
                  <a:cubicBezTo>
                    <a:pt x="7229" y="9650"/>
                    <a:pt x="6929" y="9208"/>
                    <a:pt x="6593" y="8713"/>
                  </a:cubicBezTo>
                  <a:cubicBezTo>
                    <a:pt x="6027" y="7847"/>
                    <a:pt x="5356" y="6822"/>
                    <a:pt x="5356" y="6752"/>
                  </a:cubicBezTo>
                  <a:cubicBezTo>
                    <a:pt x="5356" y="6646"/>
                    <a:pt x="6133" y="4984"/>
                    <a:pt x="6257" y="4702"/>
                  </a:cubicBezTo>
                  <a:cubicBezTo>
                    <a:pt x="6257" y="4666"/>
                    <a:pt x="6239" y="4613"/>
                    <a:pt x="6239" y="4578"/>
                  </a:cubicBezTo>
                  <a:cubicBezTo>
                    <a:pt x="6045" y="3729"/>
                    <a:pt x="5780" y="2917"/>
                    <a:pt x="5426" y="2139"/>
                  </a:cubicBezTo>
                  <a:cubicBezTo>
                    <a:pt x="5356" y="2068"/>
                    <a:pt x="4578" y="513"/>
                    <a:pt x="4419" y="107"/>
                  </a:cubicBezTo>
                  <a:lnTo>
                    <a:pt x="4366" y="107"/>
                  </a:lnTo>
                  <a:cubicBezTo>
                    <a:pt x="4210" y="107"/>
                    <a:pt x="3684" y="140"/>
                    <a:pt x="3203" y="140"/>
                  </a:cubicBezTo>
                  <a:cubicBezTo>
                    <a:pt x="2757" y="140"/>
                    <a:pt x="2350" y="111"/>
                    <a:pt x="2316"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4" name="Google Shape;586;p24">
              <a:extLst>
                <a:ext uri="{FF2B5EF4-FFF2-40B4-BE49-F238E27FC236}">
                  <a16:creationId xmlns:a16="http://schemas.microsoft.com/office/drawing/2014/main" id="{632C265F-7DA5-481D-B507-5F59BB7222FD}"/>
                </a:ext>
              </a:extLst>
            </p:cNvPr>
            <p:cNvSpPr/>
            <p:nvPr/>
          </p:nvSpPr>
          <p:spPr>
            <a:xfrm>
              <a:off x="4030025" y="3862875"/>
              <a:ext cx="403850" cy="534625"/>
            </a:xfrm>
            <a:custGeom>
              <a:avLst/>
              <a:gdLst/>
              <a:ahLst/>
              <a:cxnLst/>
              <a:rect l="l" t="t" r="r" b="b"/>
              <a:pathLst>
                <a:path w="16154" h="21385" extrusionOk="0">
                  <a:moveTo>
                    <a:pt x="5567" y="0"/>
                  </a:moveTo>
                  <a:cubicBezTo>
                    <a:pt x="3800" y="354"/>
                    <a:pt x="1520" y="778"/>
                    <a:pt x="0" y="1043"/>
                  </a:cubicBezTo>
                  <a:cubicBezTo>
                    <a:pt x="389" y="2156"/>
                    <a:pt x="990" y="3729"/>
                    <a:pt x="1184" y="3924"/>
                  </a:cubicBezTo>
                  <a:cubicBezTo>
                    <a:pt x="1379" y="4047"/>
                    <a:pt x="1591" y="4118"/>
                    <a:pt x="1838" y="4153"/>
                  </a:cubicBezTo>
                  <a:cubicBezTo>
                    <a:pt x="2174" y="4242"/>
                    <a:pt x="2474" y="4312"/>
                    <a:pt x="2474" y="4542"/>
                  </a:cubicBezTo>
                  <a:cubicBezTo>
                    <a:pt x="2474" y="4772"/>
                    <a:pt x="2121" y="4896"/>
                    <a:pt x="1502" y="5125"/>
                  </a:cubicBezTo>
                  <a:cubicBezTo>
                    <a:pt x="1255" y="5214"/>
                    <a:pt x="1025" y="5320"/>
                    <a:pt x="795" y="5461"/>
                  </a:cubicBezTo>
                  <a:cubicBezTo>
                    <a:pt x="795" y="5620"/>
                    <a:pt x="619" y="6256"/>
                    <a:pt x="566" y="6469"/>
                  </a:cubicBezTo>
                  <a:cubicBezTo>
                    <a:pt x="1202" y="6539"/>
                    <a:pt x="1449" y="6875"/>
                    <a:pt x="1449" y="7016"/>
                  </a:cubicBezTo>
                  <a:cubicBezTo>
                    <a:pt x="1449" y="7140"/>
                    <a:pt x="1131" y="7688"/>
                    <a:pt x="831" y="8289"/>
                  </a:cubicBezTo>
                  <a:cubicBezTo>
                    <a:pt x="548" y="8837"/>
                    <a:pt x="407" y="9597"/>
                    <a:pt x="495" y="9756"/>
                  </a:cubicBezTo>
                  <a:cubicBezTo>
                    <a:pt x="795" y="9968"/>
                    <a:pt x="1096" y="10162"/>
                    <a:pt x="1414" y="10321"/>
                  </a:cubicBezTo>
                  <a:cubicBezTo>
                    <a:pt x="1997" y="10639"/>
                    <a:pt x="2050" y="10586"/>
                    <a:pt x="2050" y="10834"/>
                  </a:cubicBezTo>
                  <a:cubicBezTo>
                    <a:pt x="2050" y="10940"/>
                    <a:pt x="1821" y="11046"/>
                    <a:pt x="1732" y="11452"/>
                  </a:cubicBezTo>
                  <a:cubicBezTo>
                    <a:pt x="1608" y="11947"/>
                    <a:pt x="1997" y="13220"/>
                    <a:pt x="1502" y="13909"/>
                  </a:cubicBezTo>
                  <a:cubicBezTo>
                    <a:pt x="1750" y="14280"/>
                    <a:pt x="2793" y="15729"/>
                    <a:pt x="2793" y="16100"/>
                  </a:cubicBezTo>
                  <a:cubicBezTo>
                    <a:pt x="2793" y="16189"/>
                    <a:pt x="2793" y="16295"/>
                    <a:pt x="2775" y="16401"/>
                  </a:cubicBezTo>
                  <a:cubicBezTo>
                    <a:pt x="2757" y="16701"/>
                    <a:pt x="2722" y="17002"/>
                    <a:pt x="2899" y="17178"/>
                  </a:cubicBezTo>
                  <a:cubicBezTo>
                    <a:pt x="3058" y="17337"/>
                    <a:pt x="3058" y="17779"/>
                    <a:pt x="2987" y="18239"/>
                  </a:cubicBezTo>
                  <a:cubicBezTo>
                    <a:pt x="3021" y="18349"/>
                    <a:pt x="3428" y="18378"/>
                    <a:pt x="3874" y="18378"/>
                  </a:cubicBezTo>
                  <a:cubicBezTo>
                    <a:pt x="4355" y="18378"/>
                    <a:pt x="4881" y="18345"/>
                    <a:pt x="5037" y="18345"/>
                  </a:cubicBezTo>
                  <a:lnTo>
                    <a:pt x="5090" y="18345"/>
                  </a:lnTo>
                  <a:cubicBezTo>
                    <a:pt x="5072" y="18292"/>
                    <a:pt x="5055" y="18239"/>
                    <a:pt x="5055" y="18186"/>
                  </a:cubicBezTo>
                  <a:cubicBezTo>
                    <a:pt x="5037" y="17885"/>
                    <a:pt x="7105" y="15340"/>
                    <a:pt x="7476" y="15199"/>
                  </a:cubicBezTo>
                  <a:cubicBezTo>
                    <a:pt x="7496" y="15186"/>
                    <a:pt x="7519" y="15180"/>
                    <a:pt x="7542" y="15180"/>
                  </a:cubicBezTo>
                  <a:cubicBezTo>
                    <a:pt x="7580" y="15180"/>
                    <a:pt x="7620" y="15195"/>
                    <a:pt x="7653" y="15217"/>
                  </a:cubicBezTo>
                  <a:cubicBezTo>
                    <a:pt x="7723" y="15305"/>
                    <a:pt x="8342" y="15888"/>
                    <a:pt x="8996" y="16489"/>
                  </a:cubicBezTo>
                  <a:cubicBezTo>
                    <a:pt x="9879" y="17320"/>
                    <a:pt x="10887" y="18274"/>
                    <a:pt x="11081" y="18451"/>
                  </a:cubicBezTo>
                  <a:cubicBezTo>
                    <a:pt x="11399" y="18769"/>
                    <a:pt x="10834" y="20201"/>
                    <a:pt x="10569" y="20837"/>
                  </a:cubicBezTo>
                  <a:cubicBezTo>
                    <a:pt x="11152" y="20748"/>
                    <a:pt x="12796" y="20377"/>
                    <a:pt x="13449" y="20218"/>
                  </a:cubicBezTo>
                  <a:lnTo>
                    <a:pt x="13502" y="20201"/>
                  </a:lnTo>
                  <a:lnTo>
                    <a:pt x="14563" y="21385"/>
                  </a:lnTo>
                  <a:cubicBezTo>
                    <a:pt x="14404" y="20413"/>
                    <a:pt x="14245" y="17355"/>
                    <a:pt x="14457" y="17161"/>
                  </a:cubicBezTo>
                  <a:lnTo>
                    <a:pt x="14563" y="17037"/>
                  </a:lnTo>
                  <a:cubicBezTo>
                    <a:pt x="15941" y="15694"/>
                    <a:pt x="16153" y="15358"/>
                    <a:pt x="16153" y="15252"/>
                  </a:cubicBezTo>
                  <a:cubicBezTo>
                    <a:pt x="16136" y="15128"/>
                    <a:pt x="15446" y="14722"/>
                    <a:pt x="15040" y="14474"/>
                  </a:cubicBezTo>
                  <a:cubicBezTo>
                    <a:pt x="14740" y="14315"/>
                    <a:pt x="14457" y="14121"/>
                    <a:pt x="14174" y="13909"/>
                  </a:cubicBezTo>
                  <a:cubicBezTo>
                    <a:pt x="13838" y="13573"/>
                    <a:pt x="13379" y="12389"/>
                    <a:pt x="13379" y="12071"/>
                  </a:cubicBezTo>
                  <a:cubicBezTo>
                    <a:pt x="13379" y="11806"/>
                    <a:pt x="14510" y="9915"/>
                    <a:pt x="14916" y="9279"/>
                  </a:cubicBezTo>
                  <a:cubicBezTo>
                    <a:pt x="14740" y="9066"/>
                    <a:pt x="12884" y="8271"/>
                    <a:pt x="11753" y="7794"/>
                  </a:cubicBezTo>
                  <a:cubicBezTo>
                    <a:pt x="10622" y="7317"/>
                    <a:pt x="10162" y="7105"/>
                    <a:pt x="10074" y="7016"/>
                  </a:cubicBezTo>
                  <a:cubicBezTo>
                    <a:pt x="9897" y="6840"/>
                    <a:pt x="10074" y="6327"/>
                    <a:pt x="10374" y="5496"/>
                  </a:cubicBezTo>
                  <a:cubicBezTo>
                    <a:pt x="10463" y="5302"/>
                    <a:pt x="10533" y="5090"/>
                    <a:pt x="10586" y="4878"/>
                  </a:cubicBezTo>
                  <a:cubicBezTo>
                    <a:pt x="10463" y="4772"/>
                    <a:pt x="9809" y="4666"/>
                    <a:pt x="9367" y="4595"/>
                  </a:cubicBezTo>
                  <a:cubicBezTo>
                    <a:pt x="8660" y="4489"/>
                    <a:pt x="8254" y="4418"/>
                    <a:pt x="8130" y="4295"/>
                  </a:cubicBezTo>
                  <a:cubicBezTo>
                    <a:pt x="7918" y="4083"/>
                    <a:pt x="5991" y="725"/>
                    <a:pt x="5567"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5" name="Google Shape;587;p24">
              <a:extLst>
                <a:ext uri="{FF2B5EF4-FFF2-40B4-BE49-F238E27FC236}">
                  <a16:creationId xmlns:a16="http://schemas.microsoft.com/office/drawing/2014/main" id="{17D712A6-2588-47BF-96AC-BCD4BCCEE4C4}"/>
                </a:ext>
              </a:extLst>
            </p:cNvPr>
            <p:cNvSpPr/>
            <p:nvPr/>
          </p:nvSpPr>
          <p:spPr>
            <a:xfrm>
              <a:off x="3658875" y="2651025"/>
              <a:ext cx="850550" cy="800525"/>
            </a:xfrm>
            <a:custGeom>
              <a:avLst/>
              <a:gdLst/>
              <a:ahLst/>
              <a:cxnLst/>
              <a:rect l="l" t="t" r="r" b="b"/>
              <a:pathLst>
                <a:path w="34022" h="32021" extrusionOk="0">
                  <a:moveTo>
                    <a:pt x="13987" y="1"/>
                  </a:moveTo>
                  <a:cubicBezTo>
                    <a:pt x="13028" y="1"/>
                    <a:pt x="10789" y="631"/>
                    <a:pt x="10004" y="898"/>
                  </a:cubicBezTo>
                  <a:cubicBezTo>
                    <a:pt x="9120" y="1199"/>
                    <a:pt x="7653" y="3337"/>
                    <a:pt x="6646" y="3337"/>
                  </a:cubicBezTo>
                  <a:cubicBezTo>
                    <a:pt x="5656" y="3337"/>
                    <a:pt x="2387" y="4309"/>
                    <a:pt x="1733" y="4556"/>
                  </a:cubicBezTo>
                  <a:cubicBezTo>
                    <a:pt x="1666" y="4581"/>
                    <a:pt x="1600" y="4592"/>
                    <a:pt x="1534" y="4592"/>
                  </a:cubicBezTo>
                  <a:cubicBezTo>
                    <a:pt x="1128" y="4592"/>
                    <a:pt x="737" y="4166"/>
                    <a:pt x="372" y="3832"/>
                  </a:cubicBezTo>
                  <a:cubicBezTo>
                    <a:pt x="213" y="4397"/>
                    <a:pt x="89" y="4981"/>
                    <a:pt x="1" y="5564"/>
                  </a:cubicBezTo>
                  <a:cubicBezTo>
                    <a:pt x="1" y="5811"/>
                    <a:pt x="284" y="6607"/>
                    <a:pt x="531" y="7296"/>
                  </a:cubicBezTo>
                  <a:cubicBezTo>
                    <a:pt x="831" y="8126"/>
                    <a:pt x="1008" y="8621"/>
                    <a:pt x="1008" y="8833"/>
                  </a:cubicBezTo>
                  <a:cubicBezTo>
                    <a:pt x="1008" y="9098"/>
                    <a:pt x="708" y="9452"/>
                    <a:pt x="337" y="9911"/>
                  </a:cubicBezTo>
                  <a:cubicBezTo>
                    <a:pt x="213" y="10035"/>
                    <a:pt x="107" y="10177"/>
                    <a:pt x="1" y="10336"/>
                  </a:cubicBezTo>
                  <a:cubicBezTo>
                    <a:pt x="36" y="10371"/>
                    <a:pt x="266" y="10654"/>
                    <a:pt x="478" y="10883"/>
                  </a:cubicBezTo>
                  <a:cubicBezTo>
                    <a:pt x="1079" y="11590"/>
                    <a:pt x="1556" y="12174"/>
                    <a:pt x="1556" y="12492"/>
                  </a:cubicBezTo>
                  <a:cubicBezTo>
                    <a:pt x="1556" y="12651"/>
                    <a:pt x="1485" y="13128"/>
                    <a:pt x="1415" y="13711"/>
                  </a:cubicBezTo>
                  <a:cubicBezTo>
                    <a:pt x="1273" y="14736"/>
                    <a:pt x="937" y="16397"/>
                    <a:pt x="1150" y="17087"/>
                  </a:cubicBezTo>
                  <a:cubicBezTo>
                    <a:pt x="1326" y="17617"/>
                    <a:pt x="2069" y="20498"/>
                    <a:pt x="2210" y="21205"/>
                  </a:cubicBezTo>
                  <a:cubicBezTo>
                    <a:pt x="2634" y="21452"/>
                    <a:pt x="6310" y="23608"/>
                    <a:pt x="6911" y="24191"/>
                  </a:cubicBezTo>
                  <a:cubicBezTo>
                    <a:pt x="8095" y="25393"/>
                    <a:pt x="9120" y="26012"/>
                    <a:pt x="9809" y="26012"/>
                  </a:cubicBezTo>
                  <a:cubicBezTo>
                    <a:pt x="10658" y="26012"/>
                    <a:pt x="14634" y="26719"/>
                    <a:pt x="14634" y="27302"/>
                  </a:cubicBezTo>
                  <a:cubicBezTo>
                    <a:pt x="14652" y="27479"/>
                    <a:pt x="14669" y="27638"/>
                    <a:pt x="14687" y="27814"/>
                  </a:cubicBezTo>
                  <a:cubicBezTo>
                    <a:pt x="14758" y="28362"/>
                    <a:pt x="14705" y="28910"/>
                    <a:pt x="14563" y="29458"/>
                  </a:cubicBezTo>
                  <a:lnTo>
                    <a:pt x="17479" y="29458"/>
                  </a:lnTo>
                  <a:cubicBezTo>
                    <a:pt x="17921" y="29458"/>
                    <a:pt x="18151" y="29900"/>
                    <a:pt x="18381" y="30359"/>
                  </a:cubicBezTo>
                  <a:cubicBezTo>
                    <a:pt x="18505" y="30624"/>
                    <a:pt x="18664" y="30872"/>
                    <a:pt x="18858" y="31101"/>
                  </a:cubicBezTo>
                  <a:cubicBezTo>
                    <a:pt x="18965" y="31208"/>
                    <a:pt x="19082" y="31252"/>
                    <a:pt x="19204" y="31252"/>
                  </a:cubicBezTo>
                  <a:cubicBezTo>
                    <a:pt x="19508" y="31252"/>
                    <a:pt x="19846" y="30982"/>
                    <a:pt x="20148" y="30730"/>
                  </a:cubicBezTo>
                  <a:cubicBezTo>
                    <a:pt x="20413" y="30518"/>
                    <a:pt x="20714" y="30289"/>
                    <a:pt x="20908" y="30289"/>
                  </a:cubicBezTo>
                  <a:lnTo>
                    <a:pt x="21615" y="30289"/>
                  </a:lnTo>
                  <a:cubicBezTo>
                    <a:pt x="22186" y="30279"/>
                    <a:pt x="23288" y="30252"/>
                    <a:pt x="24190" y="30252"/>
                  </a:cubicBezTo>
                  <a:cubicBezTo>
                    <a:pt x="24907" y="30252"/>
                    <a:pt x="25497" y="30269"/>
                    <a:pt x="25591" y="30324"/>
                  </a:cubicBezTo>
                  <a:cubicBezTo>
                    <a:pt x="25768" y="30501"/>
                    <a:pt x="28048" y="31685"/>
                    <a:pt x="28649" y="32020"/>
                  </a:cubicBezTo>
                  <a:cubicBezTo>
                    <a:pt x="28667" y="31702"/>
                    <a:pt x="29391" y="28044"/>
                    <a:pt x="29391" y="27779"/>
                  </a:cubicBezTo>
                  <a:cubicBezTo>
                    <a:pt x="29391" y="27514"/>
                    <a:pt x="34004" y="23891"/>
                    <a:pt x="34004" y="23643"/>
                  </a:cubicBezTo>
                  <a:cubicBezTo>
                    <a:pt x="34022" y="23396"/>
                    <a:pt x="33509" y="21699"/>
                    <a:pt x="33014" y="20180"/>
                  </a:cubicBezTo>
                  <a:cubicBezTo>
                    <a:pt x="32290" y="18023"/>
                    <a:pt x="32148" y="17882"/>
                    <a:pt x="32148" y="17582"/>
                  </a:cubicBezTo>
                  <a:cubicBezTo>
                    <a:pt x="32148" y="17263"/>
                    <a:pt x="31936" y="15549"/>
                    <a:pt x="31547" y="15231"/>
                  </a:cubicBezTo>
                  <a:cubicBezTo>
                    <a:pt x="31158" y="14895"/>
                    <a:pt x="30310" y="14347"/>
                    <a:pt x="30310" y="14153"/>
                  </a:cubicBezTo>
                  <a:cubicBezTo>
                    <a:pt x="30310" y="13976"/>
                    <a:pt x="32661" y="11802"/>
                    <a:pt x="32661" y="11537"/>
                  </a:cubicBezTo>
                  <a:cubicBezTo>
                    <a:pt x="32661" y="10972"/>
                    <a:pt x="32254" y="5511"/>
                    <a:pt x="31512" y="5511"/>
                  </a:cubicBezTo>
                  <a:cubicBezTo>
                    <a:pt x="31415" y="5511"/>
                    <a:pt x="31336" y="5512"/>
                    <a:pt x="31270" y="5512"/>
                  </a:cubicBezTo>
                  <a:cubicBezTo>
                    <a:pt x="30963" y="5512"/>
                    <a:pt x="30941" y="5477"/>
                    <a:pt x="30752" y="5069"/>
                  </a:cubicBezTo>
                  <a:cubicBezTo>
                    <a:pt x="30434" y="4397"/>
                    <a:pt x="29603" y="2542"/>
                    <a:pt x="29108" y="2542"/>
                  </a:cubicBezTo>
                  <a:lnTo>
                    <a:pt x="27730" y="2542"/>
                  </a:lnTo>
                  <a:cubicBezTo>
                    <a:pt x="24549" y="2559"/>
                    <a:pt x="17285" y="2630"/>
                    <a:pt x="17285" y="2630"/>
                  </a:cubicBezTo>
                  <a:cubicBezTo>
                    <a:pt x="17078" y="2676"/>
                    <a:pt x="16786" y="2703"/>
                    <a:pt x="16480" y="2703"/>
                  </a:cubicBezTo>
                  <a:cubicBezTo>
                    <a:pt x="15848" y="2703"/>
                    <a:pt x="15154" y="2586"/>
                    <a:pt x="15023" y="2277"/>
                  </a:cubicBezTo>
                  <a:cubicBezTo>
                    <a:pt x="14846" y="1835"/>
                    <a:pt x="14669" y="827"/>
                    <a:pt x="14829" y="668"/>
                  </a:cubicBezTo>
                  <a:cubicBezTo>
                    <a:pt x="14988" y="509"/>
                    <a:pt x="14952" y="244"/>
                    <a:pt x="14281" y="32"/>
                  </a:cubicBezTo>
                  <a:cubicBezTo>
                    <a:pt x="14206" y="11"/>
                    <a:pt x="14106" y="1"/>
                    <a:pt x="13987"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6" name="Google Shape;588;p24">
              <a:extLst>
                <a:ext uri="{FF2B5EF4-FFF2-40B4-BE49-F238E27FC236}">
                  <a16:creationId xmlns:a16="http://schemas.microsoft.com/office/drawing/2014/main" id="{673E113E-9C51-41CC-B879-5779F0122777}"/>
                </a:ext>
              </a:extLst>
            </p:cNvPr>
            <p:cNvSpPr/>
            <p:nvPr/>
          </p:nvSpPr>
          <p:spPr>
            <a:xfrm>
              <a:off x="3797175" y="3520000"/>
              <a:ext cx="613275" cy="375575"/>
            </a:xfrm>
            <a:custGeom>
              <a:avLst/>
              <a:gdLst/>
              <a:ahLst/>
              <a:cxnLst/>
              <a:rect l="l" t="t" r="r" b="b"/>
              <a:pathLst>
                <a:path w="24531" h="15023" extrusionOk="0">
                  <a:moveTo>
                    <a:pt x="16984" y="1"/>
                  </a:moveTo>
                  <a:cubicBezTo>
                    <a:pt x="16666" y="1"/>
                    <a:pt x="16472" y="478"/>
                    <a:pt x="16277" y="920"/>
                  </a:cubicBezTo>
                  <a:cubicBezTo>
                    <a:pt x="16224" y="1079"/>
                    <a:pt x="16136" y="1220"/>
                    <a:pt x="16048" y="1362"/>
                  </a:cubicBezTo>
                  <a:cubicBezTo>
                    <a:pt x="15942" y="1450"/>
                    <a:pt x="14987" y="1697"/>
                    <a:pt x="14139" y="1910"/>
                  </a:cubicBezTo>
                  <a:cubicBezTo>
                    <a:pt x="12601" y="2316"/>
                    <a:pt x="11594" y="2599"/>
                    <a:pt x="11417" y="2776"/>
                  </a:cubicBezTo>
                  <a:cubicBezTo>
                    <a:pt x="11311" y="2917"/>
                    <a:pt x="11223" y="3076"/>
                    <a:pt x="11188" y="3253"/>
                  </a:cubicBezTo>
                  <a:cubicBezTo>
                    <a:pt x="11011" y="3712"/>
                    <a:pt x="10834" y="4225"/>
                    <a:pt x="10145" y="4225"/>
                  </a:cubicBezTo>
                  <a:cubicBezTo>
                    <a:pt x="9827" y="4225"/>
                    <a:pt x="9367" y="4260"/>
                    <a:pt x="8855" y="4295"/>
                  </a:cubicBezTo>
                  <a:cubicBezTo>
                    <a:pt x="8209" y="4361"/>
                    <a:pt x="7475" y="4426"/>
                    <a:pt x="6827" y="4426"/>
                  </a:cubicBezTo>
                  <a:cubicBezTo>
                    <a:pt x="6251" y="4426"/>
                    <a:pt x="5742" y="4374"/>
                    <a:pt x="5426" y="4225"/>
                  </a:cubicBezTo>
                  <a:cubicBezTo>
                    <a:pt x="4560" y="3836"/>
                    <a:pt x="3464" y="3288"/>
                    <a:pt x="3288" y="3164"/>
                  </a:cubicBezTo>
                  <a:cubicBezTo>
                    <a:pt x="3288" y="3412"/>
                    <a:pt x="2121" y="4172"/>
                    <a:pt x="1573" y="4543"/>
                  </a:cubicBezTo>
                  <a:cubicBezTo>
                    <a:pt x="1326" y="4684"/>
                    <a:pt x="1096" y="4843"/>
                    <a:pt x="866" y="5038"/>
                  </a:cubicBezTo>
                  <a:cubicBezTo>
                    <a:pt x="707" y="5179"/>
                    <a:pt x="584" y="5815"/>
                    <a:pt x="425" y="6840"/>
                  </a:cubicBezTo>
                  <a:cubicBezTo>
                    <a:pt x="354" y="7317"/>
                    <a:pt x="248" y="7795"/>
                    <a:pt x="124" y="8272"/>
                  </a:cubicBezTo>
                  <a:cubicBezTo>
                    <a:pt x="0" y="9085"/>
                    <a:pt x="548" y="10534"/>
                    <a:pt x="672" y="10940"/>
                  </a:cubicBezTo>
                  <a:cubicBezTo>
                    <a:pt x="796" y="11312"/>
                    <a:pt x="2333" y="13008"/>
                    <a:pt x="2457" y="13132"/>
                  </a:cubicBezTo>
                  <a:cubicBezTo>
                    <a:pt x="2651" y="13273"/>
                    <a:pt x="7282" y="15023"/>
                    <a:pt x="7706" y="15023"/>
                  </a:cubicBezTo>
                  <a:cubicBezTo>
                    <a:pt x="7830" y="15023"/>
                    <a:pt x="8448" y="14917"/>
                    <a:pt x="9314" y="14776"/>
                  </a:cubicBezTo>
                  <a:cubicBezTo>
                    <a:pt x="10816" y="14493"/>
                    <a:pt x="13114" y="14069"/>
                    <a:pt x="14864" y="13715"/>
                  </a:cubicBezTo>
                  <a:cubicBezTo>
                    <a:pt x="16207" y="13432"/>
                    <a:pt x="17249" y="13185"/>
                    <a:pt x="17373" y="13097"/>
                  </a:cubicBezTo>
                  <a:cubicBezTo>
                    <a:pt x="17497" y="12973"/>
                    <a:pt x="18628" y="10675"/>
                    <a:pt x="19565" y="8926"/>
                  </a:cubicBezTo>
                  <a:cubicBezTo>
                    <a:pt x="21703" y="4985"/>
                    <a:pt x="21685" y="4755"/>
                    <a:pt x="21809" y="4755"/>
                  </a:cubicBezTo>
                  <a:cubicBezTo>
                    <a:pt x="21968" y="4720"/>
                    <a:pt x="23541" y="3500"/>
                    <a:pt x="24531" y="2829"/>
                  </a:cubicBezTo>
                  <a:cubicBezTo>
                    <a:pt x="24230" y="2581"/>
                    <a:pt x="23347" y="2033"/>
                    <a:pt x="22746" y="1680"/>
                  </a:cubicBezTo>
                  <a:cubicBezTo>
                    <a:pt x="22322" y="1415"/>
                    <a:pt x="21933" y="1132"/>
                    <a:pt x="21562" y="796"/>
                  </a:cubicBezTo>
                  <a:cubicBezTo>
                    <a:pt x="21137" y="867"/>
                    <a:pt x="19529" y="1150"/>
                    <a:pt x="19193" y="1150"/>
                  </a:cubicBezTo>
                  <a:cubicBezTo>
                    <a:pt x="18999" y="1150"/>
                    <a:pt x="18487" y="814"/>
                    <a:pt x="18080" y="566"/>
                  </a:cubicBezTo>
                  <a:cubicBezTo>
                    <a:pt x="17515" y="213"/>
                    <a:pt x="17161" y="1"/>
                    <a:pt x="16984"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7" name="Google Shape;589;p24">
              <a:extLst>
                <a:ext uri="{FF2B5EF4-FFF2-40B4-BE49-F238E27FC236}">
                  <a16:creationId xmlns:a16="http://schemas.microsoft.com/office/drawing/2014/main" id="{8E5E14CE-0E8B-4A53-8766-0307142F8687}"/>
                </a:ext>
              </a:extLst>
            </p:cNvPr>
            <p:cNvSpPr/>
            <p:nvPr/>
          </p:nvSpPr>
          <p:spPr>
            <a:xfrm>
              <a:off x="3856825" y="3387025"/>
              <a:ext cx="517850" cy="243325"/>
            </a:xfrm>
            <a:custGeom>
              <a:avLst/>
              <a:gdLst/>
              <a:ahLst/>
              <a:cxnLst/>
              <a:rect l="l" t="t" r="r" b="b"/>
              <a:pathLst>
                <a:path w="20714" h="9733" extrusionOk="0">
                  <a:moveTo>
                    <a:pt x="6645" y="0"/>
                  </a:moveTo>
                  <a:cubicBezTo>
                    <a:pt x="6310" y="336"/>
                    <a:pt x="2916" y="3429"/>
                    <a:pt x="2174" y="3676"/>
                  </a:cubicBezTo>
                  <a:cubicBezTo>
                    <a:pt x="2015" y="3747"/>
                    <a:pt x="725" y="4136"/>
                    <a:pt x="0" y="4401"/>
                  </a:cubicBezTo>
                  <a:cubicBezTo>
                    <a:pt x="460" y="4401"/>
                    <a:pt x="884" y="7741"/>
                    <a:pt x="884" y="8466"/>
                  </a:cubicBezTo>
                  <a:cubicBezTo>
                    <a:pt x="1061" y="8589"/>
                    <a:pt x="2156" y="9120"/>
                    <a:pt x="3022" y="9544"/>
                  </a:cubicBezTo>
                  <a:cubicBezTo>
                    <a:pt x="3345" y="9684"/>
                    <a:pt x="3851" y="9732"/>
                    <a:pt x="4422" y="9732"/>
                  </a:cubicBezTo>
                  <a:cubicBezTo>
                    <a:pt x="5070" y="9732"/>
                    <a:pt x="5803" y="9671"/>
                    <a:pt x="6451" y="9614"/>
                  </a:cubicBezTo>
                  <a:cubicBezTo>
                    <a:pt x="6964" y="9561"/>
                    <a:pt x="7423" y="9526"/>
                    <a:pt x="7741" y="9526"/>
                  </a:cubicBezTo>
                  <a:cubicBezTo>
                    <a:pt x="8430" y="9526"/>
                    <a:pt x="8625" y="9014"/>
                    <a:pt x="8784" y="8554"/>
                  </a:cubicBezTo>
                  <a:cubicBezTo>
                    <a:pt x="8819" y="8377"/>
                    <a:pt x="8908" y="8218"/>
                    <a:pt x="9014" y="8077"/>
                  </a:cubicBezTo>
                  <a:cubicBezTo>
                    <a:pt x="9190" y="7900"/>
                    <a:pt x="10215" y="7635"/>
                    <a:pt x="11735" y="7211"/>
                  </a:cubicBezTo>
                  <a:cubicBezTo>
                    <a:pt x="12584" y="6999"/>
                    <a:pt x="13538" y="6751"/>
                    <a:pt x="13644" y="6663"/>
                  </a:cubicBezTo>
                  <a:cubicBezTo>
                    <a:pt x="13732" y="6522"/>
                    <a:pt x="13821" y="6380"/>
                    <a:pt x="13874" y="6221"/>
                  </a:cubicBezTo>
                  <a:cubicBezTo>
                    <a:pt x="14068" y="5779"/>
                    <a:pt x="14280" y="5320"/>
                    <a:pt x="14581" y="5320"/>
                  </a:cubicBezTo>
                  <a:cubicBezTo>
                    <a:pt x="14775" y="5320"/>
                    <a:pt x="15129" y="5532"/>
                    <a:pt x="15676" y="5868"/>
                  </a:cubicBezTo>
                  <a:cubicBezTo>
                    <a:pt x="16101" y="6133"/>
                    <a:pt x="16613" y="6451"/>
                    <a:pt x="16790" y="6451"/>
                  </a:cubicBezTo>
                  <a:cubicBezTo>
                    <a:pt x="17126" y="6451"/>
                    <a:pt x="18734" y="6168"/>
                    <a:pt x="19158" y="6097"/>
                  </a:cubicBezTo>
                  <a:cubicBezTo>
                    <a:pt x="19158" y="5815"/>
                    <a:pt x="19441" y="5214"/>
                    <a:pt x="20095" y="3888"/>
                  </a:cubicBezTo>
                  <a:cubicBezTo>
                    <a:pt x="20342" y="3376"/>
                    <a:pt x="20660" y="2757"/>
                    <a:pt x="20713" y="2545"/>
                  </a:cubicBezTo>
                  <a:cubicBezTo>
                    <a:pt x="20095" y="2227"/>
                    <a:pt x="17850" y="1043"/>
                    <a:pt x="17656" y="866"/>
                  </a:cubicBezTo>
                  <a:cubicBezTo>
                    <a:pt x="17555" y="808"/>
                    <a:pt x="16889" y="789"/>
                    <a:pt x="16107" y="789"/>
                  </a:cubicBezTo>
                  <a:cubicBezTo>
                    <a:pt x="15235" y="789"/>
                    <a:pt x="14219" y="812"/>
                    <a:pt x="13679" y="831"/>
                  </a:cubicBezTo>
                  <a:lnTo>
                    <a:pt x="12972" y="831"/>
                  </a:lnTo>
                  <a:cubicBezTo>
                    <a:pt x="12760" y="831"/>
                    <a:pt x="12478" y="1061"/>
                    <a:pt x="12212" y="1273"/>
                  </a:cubicBezTo>
                  <a:cubicBezTo>
                    <a:pt x="11897" y="1525"/>
                    <a:pt x="11563" y="1787"/>
                    <a:pt x="11263" y="1787"/>
                  </a:cubicBezTo>
                  <a:cubicBezTo>
                    <a:pt x="11143" y="1787"/>
                    <a:pt x="11028" y="1745"/>
                    <a:pt x="10922" y="1644"/>
                  </a:cubicBezTo>
                  <a:cubicBezTo>
                    <a:pt x="10728" y="1414"/>
                    <a:pt x="10569" y="1167"/>
                    <a:pt x="10445" y="902"/>
                  </a:cubicBezTo>
                  <a:cubicBezTo>
                    <a:pt x="10215" y="424"/>
                    <a:pt x="9986" y="0"/>
                    <a:pt x="9526" y="0"/>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8" name="Google Shape;590;p24">
              <a:extLst>
                <a:ext uri="{FF2B5EF4-FFF2-40B4-BE49-F238E27FC236}">
                  <a16:creationId xmlns:a16="http://schemas.microsoft.com/office/drawing/2014/main" id="{86A1C7F5-B0E8-4B76-BF15-E370543F5B1A}"/>
                </a:ext>
              </a:extLst>
            </p:cNvPr>
            <p:cNvSpPr/>
            <p:nvPr/>
          </p:nvSpPr>
          <p:spPr>
            <a:xfrm>
              <a:off x="3235175" y="2217375"/>
              <a:ext cx="225250" cy="405300"/>
            </a:xfrm>
            <a:custGeom>
              <a:avLst/>
              <a:gdLst/>
              <a:ahLst/>
              <a:cxnLst/>
              <a:rect l="l" t="t" r="r" b="b"/>
              <a:pathLst>
                <a:path w="9010" h="16212" extrusionOk="0">
                  <a:moveTo>
                    <a:pt x="8730" y="1"/>
                  </a:moveTo>
                  <a:cubicBezTo>
                    <a:pt x="8478" y="1"/>
                    <a:pt x="8024" y="255"/>
                    <a:pt x="7476" y="341"/>
                  </a:cubicBezTo>
                  <a:cubicBezTo>
                    <a:pt x="6451" y="500"/>
                    <a:pt x="5426" y="2621"/>
                    <a:pt x="5037" y="2992"/>
                  </a:cubicBezTo>
                  <a:cubicBezTo>
                    <a:pt x="4967" y="3065"/>
                    <a:pt x="4892" y="3095"/>
                    <a:pt x="4809" y="3095"/>
                  </a:cubicBezTo>
                  <a:cubicBezTo>
                    <a:pt x="4454" y="3095"/>
                    <a:pt x="3982" y="2534"/>
                    <a:pt x="3394" y="2462"/>
                  </a:cubicBezTo>
                  <a:cubicBezTo>
                    <a:pt x="3357" y="2458"/>
                    <a:pt x="3320" y="2455"/>
                    <a:pt x="3284" y="2455"/>
                  </a:cubicBezTo>
                  <a:cubicBezTo>
                    <a:pt x="2604" y="2455"/>
                    <a:pt x="2003" y="3216"/>
                    <a:pt x="1785" y="3770"/>
                  </a:cubicBezTo>
                  <a:cubicBezTo>
                    <a:pt x="1556" y="4353"/>
                    <a:pt x="601" y="4441"/>
                    <a:pt x="725" y="4760"/>
                  </a:cubicBezTo>
                  <a:cubicBezTo>
                    <a:pt x="831" y="5078"/>
                    <a:pt x="1290" y="5537"/>
                    <a:pt x="1768" y="5537"/>
                  </a:cubicBezTo>
                  <a:cubicBezTo>
                    <a:pt x="2245" y="5537"/>
                    <a:pt x="2457" y="5378"/>
                    <a:pt x="3022" y="4601"/>
                  </a:cubicBezTo>
                  <a:cubicBezTo>
                    <a:pt x="3325" y="4194"/>
                    <a:pt x="3476" y="4055"/>
                    <a:pt x="3592" y="4055"/>
                  </a:cubicBezTo>
                  <a:cubicBezTo>
                    <a:pt x="3692" y="4055"/>
                    <a:pt x="3765" y="4159"/>
                    <a:pt x="3888" y="4282"/>
                  </a:cubicBezTo>
                  <a:cubicBezTo>
                    <a:pt x="4153" y="4565"/>
                    <a:pt x="3818" y="5219"/>
                    <a:pt x="3429" y="5219"/>
                  </a:cubicBezTo>
                  <a:cubicBezTo>
                    <a:pt x="3040" y="5219"/>
                    <a:pt x="2369" y="5926"/>
                    <a:pt x="2015" y="6279"/>
                  </a:cubicBezTo>
                  <a:cubicBezTo>
                    <a:pt x="1940" y="6354"/>
                    <a:pt x="1863" y="6385"/>
                    <a:pt x="1786" y="6385"/>
                  </a:cubicBezTo>
                  <a:cubicBezTo>
                    <a:pt x="1481" y="6385"/>
                    <a:pt x="1173" y="5897"/>
                    <a:pt x="990" y="5714"/>
                  </a:cubicBezTo>
                  <a:cubicBezTo>
                    <a:pt x="961" y="5685"/>
                    <a:pt x="924" y="5671"/>
                    <a:pt x="881" y="5671"/>
                  </a:cubicBezTo>
                  <a:cubicBezTo>
                    <a:pt x="581" y="5671"/>
                    <a:pt x="0" y="6336"/>
                    <a:pt x="0" y="7216"/>
                  </a:cubicBezTo>
                  <a:cubicBezTo>
                    <a:pt x="0" y="8206"/>
                    <a:pt x="531" y="11546"/>
                    <a:pt x="743" y="12430"/>
                  </a:cubicBezTo>
                  <a:cubicBezTo>
                    <a:pt x="902" y="13048"/>
                    <a:pt x="442" y="13932"/>
                    <a:pt x="159" y="14533"/>
                  </a:cubicBezTo>
                  <a:cubicBezTo>
                    <a:pt x="1025" y="14816"/>
                    <a:pt x="1856" y="15134"/>
                    <a:pt x="2139" y="15416"/>
                  </a:cubicBezTo>
                  <a:cubicBezTo>
                    <a:pt x="2422" y="15699"/>
                    <a:pt x="3217" y="15964"/>
                    <a:pt x="4207" y="16159"/>
                  </a:cubicBezTo>
                  <a:cubicBezTo>
                    <a:pt x="4366" y="16176"/>
                    <a:pt x="4489" y="16194"/>
                    <a:pt x="4613" y="16212"/>
                  </a:cubicBezTo>
                  <a:cubicBezTo>
                    <a:pt x="4843" y="15841"/>
                    <a:pt x="5214" y="15452"/>
                    <a:pt x="5214" y="15204"/>
                  </a:cubicBezTo>
                  <a:cubicBezTo>
                    <a:pt x="5214" y="14833"/>
                    <a:pt x="4330" y="15222"/>
                    <a:pt x="3835" y="14727"/>
                  </a:cubicBezTo>
                  <a:cubicBezTo>
                    <a:pt x="3341" y="14232"/>
                    <a:pt x="3782" y="12624"/>
                    <a:pt x="4313" y="12094"/>
                  </a:cubicBezTo>
                  <a:cubicBezTo>
                    <a:pt x="4825" y="11581"/>
                    <a:pt x="4754" y="10645"/>
                    <a:pt x="5479" y="9902"/>
                  </a:cubicBezTo>
                  <a:cubicBezTo>
                    <a:pt x="6221" y="9160"/>
                    <a:pt x="7688" y="9231"/>
                    <a:pt x="7918" y="9001"/>
                  </a:cubicBezTo>
                  <a:cubicBezTo>
                    <a:pt x="8165" y="8754"/>
                    <a:pt x="8872" y="7570"/>
                    <a:pt x="8607" y="7305"/>
                  </a:cubicBezTo>
                  <a:cubicBezTo>
                    <a:pt x="8553" y="7247"/>
                    <a:pt x="8478" y="7225"/>
                    <a:pt x="8390" y="7225"/>
                  </a:cubicBezTo>
                  <a:cubicBezTo>
                    <a:pt x="8113" y="7225"/>
                    <a:pt x="7713" y="7440"/>
                    <a:pt x="7477" y="7440"/>
                  </a:cubicBezTo>
                  <a:cubicBezTo>
                    <a:pt x="7418" y="7440"/>
                    <a:pt x="7369" y="7427"/>
                    <a:pt x="7335" y="7393"/>
                  </a:cubicBezTo>
                  <a:cubicBezTo>
                    <a:pt x="7123" y="7163"/>
                    <a:pt x="7335" y="4919"/>
                    <a:pt x="7617" y="4424"/>
                  </a:cubicBezTo>
                  <a:cubicBezTo>
                    <a:pt x="7883" y="3929"/>
                    <a:pt x="8448" y="2922"/>
                    <a:pt x="8183" y="2427"/>
                  </a:cubicBezTo>
                  <a:cubicBezTo>
                    <a:pt x="7900" y="1932"/>
                    <a:pt x="8589" y="2091"/>
                    <a:pt x="8872" y="783"/>
                  </a:cubicBezTo>
                  <a:cubicBezTo>
                    <a:pt x="9009" y="179"/>
                    <a:pt x="8940" y="1"/>
                    <a:pt x="8730"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89" name="Google Shape;591;p24">
              <a:extLst>
                <a:ext uri="{FF2B5EF4-FFF2-40B4-BE49-F238E27FC236}">
                  <a16:creationId xmlns:a16="http://schemas.microsoft.com/office/drawing/2014/main" id="{ED6F7D65-7CE7-426F-85AE-D5719919BF55}"/>
                </a:ext>
              </a:extLst>
            </p:cNvPr>
            <p:cNvSpPr/>
            <p:nvPr/>
          </p:nvSpPr>
          <p:spPr>
            <a:xfrm>
              <a:off x="3173750" y="3448425"/>
              <a:ext cx="705175" cy="339100"/>
            </a:xfrm>
            <a:custGeom>
              <a:avLst/>
              <a:gdLst/>
              <a:ahLst/>
              <a:cxnLst/>
              <a:rect l="l" t="t" r="r" b="b"/>
              <a:pathLst>
                <a:path w="28207" h="13564" extrusionOk="0">
                  <a:moveTo>
                    <a:pt x="21155" y="1"/>
                  </a:moveTo>
                  <a:cubicBezTo>
                    <a:pt x="20943" y="1"/>
                    <a:pt x="20837" y="248"/>
                    <a:pt x="20714" y="602"/>
                  </a:cubicBezTo>
                  <a:cubicBezTo>
                    <a:pt x="20661" y="778"/>
                    <a:pt x="20590" y="955"/>
                    <a:pt x="20466" y="1097"/>
                  </a:cubicBezTo>
                  <a:cubicBezTo>
                    <a:pt x="20247" y="1316"/>
                    <a:pt x="18566" y="1704"/>
                    <a:pt x="17555" y="1704"/>
                  </a:cubicBezTo>
                  <a:cubicBezTo>
                    <a:pt x="17261" y="1704"/>
                    <a:pt x="17024" y="1671"/>
                    <a:pt x="16896" y="1591"/>
                  </a:cubicBezTo>
                  <a:cubicBezTo>
                    <a:pt x="16879" y="1574"/>
                    <a:pt x="16755" y="1415"/>
                    <a:pt x="16737" y="1397"/>
                  </a:cubicBezTo>
                  <a:cubicBezTo>
                    <a:pt x="14970" y="2316"/>
                    <a:pt x="12036" y="3076"/>
                    <a:pt x="11824" y="3394"/>
                  </a:cubicBezTo>
                  <a:cubicBezTo>
                    <a:pt x="11789" y="3535"/>
                    <a:pt x="12036" y="4737"/>
                    <a:pt x="12178" y="4896"/>
                  </a:cubicBezTo>
                  <a:cubicBezTo>
                    <a:pt x="12337" y="5038"/>
                    <a:pt x="12920" y="5957"/>
                    <a:pt x="12778" y="6292"/>
                  </a:cubicBezTo>
                  <a:cubicBezTo>
                    <a:pt x="12725" y="6434"/>
                    <a:pt x="8908" y="7423"/>
                    <a:pt x="8643" y="7423"/>
                  </a:cubicBezTo>
                  <a:cubicBezTo>
                    <a:pt x="8378" y="7423"/>
                    <a:pt x="7954" y="7176"/>
                    <a:pt x="7583" y="6964"/>
                  </a:cubicBezTo>
                  <a:cubicBezTo>
                    <a:pt x="7335" y="6823"/>
                    <a:pt x="7088" y="6717"/>
                    <a:pt x="6805" y="6681"/>
                  </a:cubicBezTo>
                  <a:cubicBezTo>
                    <a:pt x="6645" y="6681"/>
                    <a:pt x="4457" y="6058"/>
                    <a:pt x="3874" y="6058"/>
                  </a:cubicBezTo>
                  <a:cubicBezTo>
                    <a:pt x="3813" y="6058"/>
                    <a:pt x="3769" y="6065"/>
                    <a:pt x="3747" y="6080"/>
                  </a:cubicBezTo>
                  <a:cubicBezTo>
                    <a:pt x="3465" y="6275"/>
                    <a:pt x="2705" y="7052"/>
                    <a:pt x="2528" y="7052"/>
                  </a:cubicBezTo>
                  <a:cubicBezTo>
                    <a:pt x="2245" y="7052"/>
                    <a:pt x="1096" y="6080"/>
                    <a:pt x="637" y="5780"/>
                  </a:cubicBezTo>
                  <a:cubicBezTo>
                    <a:pt x="602" y="5921"/>
                    <a:pt x="531" y="6381"/>
                    <a:pt x="443" y="6664"/>
                  </a:cubicBezTo>
                  <a:cubicBezTo>
                    <a:pt x="301" y="7070"/>
                    <a:pt x="1" y="7936"/>
                    <a:pt x="142" y="8060"/>
                  </a:cubicBezTo>
                  <a:cubicBezTo>
                    <a:pt x="177" y="8113"/>
                    <a:pt x="248" y="8183"/>
                    <a:pt x="319" y="8272"/>
                  </a:cubicBezTo>
                  <a:cubicBezTo>
                    <a:pt x="690" y="8643"/>
                    <a:pt x="1627" y="9668"/>
                    <a:pt x="1998" y="9668"/>
                  </a:cubicBezTo>
                  <a:cubicBezTo>
                    <a:pt x="2281" y="9650"/>
                    <a:pt x="2528" y="9597"/>
                    <a:pt x="2793" y="9527"/>
                  </a:cubicBezTo>
                  <a:cubicBezTo>
                    <a:pt x="2952" y="9474"/>
                    <a:pt x="3111" y="9456"/>
                    <a:pt x="3270" y="9438"/>
                  </a:cubicBezTo>
                  <a:cubicBezTo>
                    <a:pt x="3553" y="9438"/>
                    <a:pt x="3836" y="10092"/>
                    <a:pt x="3960" y="10463"/>
                  </a:cubicBezTo>
                  <a:cubicBezTo>
                    <a:pt x="4092" y="10454"/>
                    <a:pt x="4225" y="10450"/>
                    <a:pt x="4357" y="10450"/>
                  </a:cubicBezTo>
                  <a:cubicBezTo>
                    <a:pt x="4490" y="10450"/>
                    <a:pt x="4622" y="10454"/>
                    <a:pt x="4755" y="10463"/>
                  </a:cubicBezTo>
                  <a:cubicBezTo>
                    <a:pt x="4818" y="10468"/>
                    <a:pt x="4895" y="10476"/>
                    <a:pt x="4975" y="10476"/>
                  </a:cubicBezTo>
                  <a:cubicBezTo>
                    <a:pt x="5186" y="10476"/>
                    <a:pt x="5414" y="10423"/>
                    <a:pt x="5426" y="10127"/>
                  </a:cubicBezTo>
                  <a:cubicBezTo>
                    <a:pt x="5444" y="9774"/>
                    <a:pt x="5603" y="9438"/>
                    <a:pt x="5851" y="9438"/>
                  </a:cubicBezTo>
                  <a:cubicBezTo>
                    <a:pt x="5886" y="9438"/>
                    <a:pt x="9385" y="9615"/>
                    <a:pt x="9633" y="9880"/>
                  </a:cubicBezTo>
                  <a:cubicBezTo>
                    <a:pt x="9739" y="9968"/>
                    <a:pt x="9809" y="10234"/>
                    <a:pt x="9951" y="10658"/>
                  </a:cubicBezTo>
                  <a:cubicBezTo>
                    <a:pt x="10074" y="11011"/>
                    <a:pt x="10322" y="11842"/>
                    <a:pt x="10463" y="11842"/>
                  </a:cubicBezTo>
                  <a:cubicBezTo>
                    <a:pt x="10817" y="11842"/>
                    <a:pt x="13627" y="13061"/>
                    <a:pt x="14051" y="13379"/>
                  </a:cubicBezTo>
                  <a:lnTo>
                    <a:pt x="14104" y="13379"/>
                  </a:lnTo>
                  <a:cubicBezTo>
                    <a:pt x="14718" y="13446"/>
                    <a:pt x="15978" y="13563"/>
                    <a:pt x="16717" y="13563"/>
                  </a:cubicBezTo>
                  <a:cubicBezTo>
                    <a:pt x="16956" y="13563"/>
                    <a:pt x="17141" y="13551"/>
                    <a:pt x="17232" y="13521"/>
                  </a:cubicBezTo>
                  <a:cubicBezTo>
                    <a:pt x="17780" y="13256"/>
                    <a:pt x="18310" y="12955"/>
                    <a:pt x="18840" y="12637"/>
                  </a:cubicBezTo>
                  <a:cubicBezTo>
                    <a:pt x="20042" y="11930"/>
                    <a:pt x="20784" y="11506"/>
                    <a:pt x="20996" y="11506"/>
                  </a:cubicBezTo>
                  <a:cubicBezTo>
                    <a:pt x="21332" y="11506"/>
                    <a:pt x="24584" y="11153"/>
                    <a:pt x="25044" y="11117"/>
                  </a:cubicBezTo>
                  <a:cubicBezTo>
                    <a:pt x="25167" y="10640"/>
                    <a:pt x="25273" y="10163"/>
                    <a:pt x="25344" y="9686"/>
                  </a:cubicBezTo>
                  <a:cubicBezTo>
                    <a:pt x="25521" y="8661"/>
                    <a:pt x="25627" y="8042"/>
                    <a:pt x="25786" y="7883"/>
                  </a:cubicBezTo>
                  <a:cubicBezTo>
                    <a:pt x="26016" y="7706"/>
                    <a:pt x="26245" y="7530"/>
                    <a:pt x="26493" y="7388"/>
                  </a:cubicBezTo>
                  <a:cubicBezTo>
                    <a:pt x="27058" y="7017"/>
                    <a:pt x="28207" y="6257"/>
                    <a:pt x="28207" y="6010"/>
                  </a:cubicBezTo>
                  <a:cubicBezTo>
                    <a:pt x="28207" y="5285"/>
                    <a:pt x="27783" y="1945"/>
                    <a:pt x="27323" y="1945"/>
                  </a:cubicBezTo>
                  <a:cubicBezTo>
                    <a:pt x="26988" y="1945"/>
                    <a:pt x="25750" y="1521"/>
                    <a:pt x="23895" y="884"/>
                  </a:cubicBezTo>
                  <a:cubicBezTo>
                    <a:pt x="22728" y="460"/>
                    <a:pt x="21385" y="1"/>
                    <a:pt x="21155"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sp>
          <p:nvSpPr>
            <p:cNvPr id="90" name="Google Shape;592;p24">
              <a:extLst>
                <a:ext uri="{FF2B5EF4-FFF2-40B4-BE49-F238E27FC236}">
                  <a16:creationId xmlns:a16="http://schemas.microsoft.com/office/drawing/2014/main" id="{885864D8-420D-4DF2-9342-034855CE58CE}"/>
                </a:ext>
              </a:extLst>
            </p:cNvPr>
            <p:cNvSpPr/>
            <p:nvPr/>
          </p:nvSpPr>
          <p:spPr>
            <a:xfrm>
              <a:off x="3489675" y="5184325"/>
              <a:ext cx="58775" cy="53325"/>
            </a:xfrm>
            <a:custGeom>
              <a:avLst/>
              <a:gdLst/>
              <a:ahLst/>
              <a:cxnLst/>
              <a:rect l="l" t="t" r="r" b="b"/>
              <a:pathLst>
                <a:path w="2351" h="2133" extrusionOk="0">
                  <a:moveTo>
                    <a:pt x="406" y="1"/>
                  </a:moveTo>
                  <a:cubicBezTo>
                    <a:pt x="184" y="1"/>
                    <a:pt x="0" y="89"/>
                    <a:pt x="0" y="214"/>
                  </a:cubicBezTo>
                  <a:cubicBezTo>
                    <a:pt x="0" y="214"/>
                    <a:pt x="407" y="1911"/>
                    <a:pt x="954" y="2088"/>
                  </a:cubicBezTo>
                  <a:cubicBezTo>
                    <a:pt x="1051" y="2119"/>
                    <a:pt x="1157" y="2133"/>
                    <a:pt x="1266" y="2133"/>
                  </a:cubicBezTo>
                  <a:cubicBezTo>
                    <a:pt x="1775" y="2133"/>
                    <a:pt x="2351" y="1835"/>
                    <a:pt x="2351" y="1646"/>
                  </a:cubicBezTo>
                  <a:cubicBezTo>
                    <a:pt x="2351" y="1416"/>
                    <a:pt x="1290" y="568"/>
                    <a:pt x="954" y="214"/>
                  </a:cubicBezTo>
                  <a:cubicBezTo>
                    <a:pt x="802" y="62"/>
                    <a:pt x="591" y="1"/>
                    <a:pt x="406" y="1"/>
                  </a:cubicBezTo>
                  <a:close/>
                </a:path>
              </a:pathLst>
            </a:custGeom>
            <a:grpFill/>
            <a:ln w="1905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e-Ukraine UltraLight"/>
              </a:endParaRPr>
            </a:p>
          </p:txBody>
        </p:sp>
      </p:grpSp>
      <p:sp>
        <p:nvSpPr>
          <p:cNvPr id="2" name="Заголовок 1"/>
          <p:cNvSpPr>
            <a:spLocks noGrp="1"/>
          </p:cNvSpPr>
          <p:nvPr>
            <p:ph type="title"/>
          </p:nvPr>
        </p:nvSpPr>
        <p:spPr>
          <a:xfrm>
            <a:off x="943709" y="1413040"/>
            <a:ext cx="8445500" cy="601743"/>
          </a:xfrm>
        </p:spPr>
        <p:txBody>
          <a:bodyPr/>
          <a:lstStyle/>
          <a:p>
            <a:r>
              <a:rPr lang="uk-UA" sz="2000" dirty="0">
                <a:solidFill>
                  <a:schemeClr val="accent3">
                    <a:lumMod val="75000"/>
                  </a:schemeClr>
                </a:solidFill>
              </a:rPr>
              <a:t>18 жовтня 2024 року </a:t>
            </a:r>
            <a:r>
              <a:rPr lang="en-US" sz="2000" dirty="0">
                <a:solidFill>
                  <a:schemeClr val="accent3">
                    <a:lumMod val="75000"/>
                  </a:schemeClr>
                </a:solidFill>
              </a:rPr>
              <a:t/>
            </a:r>
            <a:br>
              <a:rPr lang="en-US" sz="2000" dirty="0">
                <a:solidFill>
                  <a:schemeClr val="accent3">
                    <a:lumMod val="75000"/>
                  </a:schemeClr>
                </a:solidFill>
              </a:rPr>
            </a:br>
            <a:r>
              <a:rPr lang="uk-UA" sz="2000" dirty="0">
                <a:solidFill>
                  <a:schemeClr val="accent3">
                    <a:lumMod val="75000"/>
                  </a:schemeClr>
                </a:solidFill>
              </a:rPr>
              <a:t>Кабінетом Міністрів України </a:t>
            </a:r>
            <a:r>
              <a:rPr lang="en-US" sz="2000" dirty="0">
                <a:solidFill>
                  <a:schemeClr val="accent3">
                    <a:lumMod val="75000"/>
                  </a:schemeClr>
                </a:solidFill>
              </a:rPr>
              <a:t/>
            </a:r>
            <a:br>
              <a:rPr lang="en-US" sz="2000" dirty="0">
                <a:solidFill>
                  <a:schemeClr val="accent3">
                    <a:lumMod val="75000"/>
                  </a:schemeClr>
                </a:solidFill>
              </a:rPr>
            </a:br>
            <a:r>
              <a:rPr lang="uk-UA" sz="2000" dirty="0">
                <a:solidFill>
                  <a:schemeClr val="accent3">
                    <a:lumMod val="75000"/>
                  </a:schemeClr>
                </a:solidFill>
              </a:rPr>
              <a:t>прийнято розпорядження № 1015-р </a:t>
            </a:r>
            <a:r>
              <a:rPr lang="en-US" sz="2000" dirty="0">
                <a:solidFill>
                  <a:schemeClr val="accent3">
                    <a:lumMod val="75000"/>
                  </a:schemeClr>
                </a:solidFill>
              </a:rPr>
              <a:t/>
            </a:r>
            <a:br>
              <a:rPr lang="en-US" sz="2000" dirty="0">
                <a:solidFill>
                  <a:schemeClr val="accent3">
                    <a:lumMod val="75000"/>
                  </a:schemeClr>
                </a:solidFill>
              </a:rPr>
            </a:br>
            <a:r>
              <a:rPr lang="en-US" sz="2000" dirty="0">
                <a:solidFill>
                  <a:schemeClr val="accent3">
                    <a:lumMod val="75000"/>
                  </a:schemeClr>
                </a:solidFill>
              </a:rPr>
              <a:t/>
            </a:r>
            <a:br>
              <a:rPr lang="en-US" sz="2000" dirty="0">
                <a:solidFill>
                  <a:schemeClr val="accent3">
                    <a:lumMod val="75000"/>
                  </a:schemeClr>
                </a:solidFill>
              </a:rPr>
            </a:br>
            <a:r>
              <a:rPr lang="uk-UA" sz="2000" dirty="0">
                <a:solidFill>
                  <a:schemeClr val="accent3">
                    <a:lumMod val="75000"/>
                  </a:schemeClr>
                </a:solidFill>
              </a:rPr>
              <a:t>«Про схвалення Стратегії </a:t>
            </a:r>
            <a:r>
              <a:rPr lang="uk-UA" sz="2000" dirty="0" smtClean="0">
                <a:solidFill>
                  <a:schemeClr val="accent3">
                    <a:lumMod val="75000"/>
                  </a:schemeClr>
                </a:solidFill>
              </a:rPr>
              <a:t>запровадження</a:t>
            </a:r>
            <a:r>
              <a:rPr lang="en-US" sz="2000" dirty="0" smtClean="0">
                <a:solidFill>
                  <a:schemeClr val="accent3">
                    <a:lumMod val="75000"/>
                  </a:schemeClr>
                </a:solidFill>
              </a:rPr>
              <a:t> </a:t>
            </a:r>
            <a:r>
              <a:rPr lang="uk-UA" sz="2000" dirty="0">
                <a:solidFill>
                  <a:schemeClr val="accent3">
                    <a:lumMod val="75000"/>
                  </a:schemeClr>
                </a:solidFill>
              </a:rPr>
              <a:t>підприємствами звітності із сталого розвитку»</a:t>
            </a:r>
          </a:p>
        </p:txBody>
      </p:sp>
      <p:sp>
        <p:nvSpPr>
          <p:cNvPr id="3" name="Місце для номера слайда 2"/>
          <p:cNvSpPr>
            <a:spLocks noGrp="1"/>
          </p:cNvSpPr>
          <p:nvPr>
            <p:ph type="sldNum" sz="quarter" idx="4"/>
          </p:nvPr>
        </p:nvSpPr>
        <p:spPr/>
        <p:txBody>
          <a:bodyPr/>
          <a:lstStyle/>
          <a:p>
            <a:fld id="{6BEF9EAC-A834-4079-97F3-DDD7E59C4475}" type="slidenum">
              <a:rPr lang="uk-UA" sz="900" smtClean="0">
                <a:latin typeface="+mn-lt"/>
              </a:rPr>
              <a:pPr/>
              <a:t>17</a:t>
            </a:fld>
            <a:endParaRPr lang="uk-UA" sz="900" dirty="0">
              <a:latin typeface="+mn-lt"/>
            </a:endParaRPr>
          </a:p>
        </p:txBody>
      </p:sp>
      <p:sp>
        <p:nvSpPr>
          <p:cNvPr id="4" name="Text Placeholder 16">
            <a:extLst>
              <a:ext uri="{FF2B5EF4-FFF2-40B4-BE49-F238E27FC236}">
                <a16:creationId xmlns:a16="http://schemas.microsoft.com/office/drawing/2014/main" id="{245EF672-E1BC-410A-AD81-E82E20E9ABDF}"/>
              </a:ext>
            </a:extLst>
          </p:cNvPr>
          <p:cNvSpPr txBox="1">
            <a:spLocks/>
          </p:cNvSpPr>
          <p:nvPr/>
        </p:nvSpPr>
        <p:spPr>
          <a:xfrm>
            <a:off x="949569" y="4299438"/>
            <a:ext cx="6286500" cy="2057768"/>
          </a:xfrm>
          <a:prstGeom prst="rect">
            <a:avLst/>
          </a:prstGeom>
        </p:spPr>
        <p:txBody>
          <a:bodyPr vert="horz" lIns="0" tIns="0" rIns="0" bIns="0" rtlCol="0">
            <a:noAutofit/>
          </a:bodyPr>
          <a:lstStyle>
            <a:lvl1pPr marL="0" marR="0" indent="-205740" algn="l" defTabSz="685800" rtl="0" eaLnBrk="1" fontAlgn="auto" latinLnBrk="0" hangingPunct="1">
              <a:lnSpc>
                <a:spcPct val="100000"/>
              </a:lnSpc>
              <a:spcBef>
                <a:spcPts val="0"/>
              </a:spcBef>
              <a:spcAft>
                <a:spcPts val="675"/>
              </a:spcAft>
              <a:buClr>
                <a:schemeClr val="tx1"/>
              </a:buClr>
              <a:buSzTx/>
              <a:buFontTx/>
              <a:buNone/>
              <a:tabLst/>
              <a:defRPr sz="14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baseline="0">
                <a:solidFill>
                  <a:schemeClr val="tx1"/>
                </a:solidFill>
                <a:latin typeface="e-Ukraine UltraLight" panose="00000300000000000000" pitchFamily="50"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pPr>
              <a:lnSpc>
                <a:spcPct val="150000"/>
              </a:lnSpc>
              <a:spcAft>
                <a:spcPts val="0"/>
              </a:spcAft>
            </a:pPr>
            <a:r>
              <a:rPr lang="uk-UA" dirty="0" smtClean="0">
                <a:solidFill>
                  <a:schemeClr val="accent3">
                    <a:lumMod val="75000"/>
                  </a:schemeClr>
                </a:solidFill>
              </a:rPr>
              <a:t>Також, зазначеним розпорядженням затверджено </a:t>
            </a:r>
            <a:endParaRPr lang="en-US" dirty="0" smtClean="0">
              <a:solidFill>
                <a:schemeClr val="accent3">
                  <a:lumMod val="75000"/>
                </a:schemeClr>
              </a:solidFill>
            </a:endParaRPr>
          </a:p>
          <a:p>
            <a:pPr>
              <a:lnSpc>
                <a:spcPct val="150000"/>
              </a:lnSpc>
              <a:spcAft>
                <a:spcPts val="0"/>
              </a:spcAft>
            </a:pPr>
            <a:r>
              <a:rPr lang="uk-UA" dirty="0" smtClean="0">
                <a:solidFill>
                  <a:schemeClr val="accent3">
                    <a:lumMod val="75000"/>
                  </a:schemeClr>
                </a:solidFill>
              </a:rPr>
              <a:t>Операційний план реалізації Стратегії у 2024—2026 роках, </a:t>
            </a:r>
          </a:p>
          <a:p>
            <a:pPr>
              <a:lnSpc>
                <a:spcPct val="150000"/>
              </a:lnSpc>
              <a:spcAft>
                <a:spcPts val="0"/>
              </a:spcAft>
            </a:pPr>
            <a:r>
              <a:rPr lang="uk-UA" dirty="0" smtClean="0">
                <a:solidFill>
                  <a:schemeClr val="accent3">
                    <a:lumMod val="75000"/>
                  </a:schemeClr>
                </a:solidFill>
              </a:rPr>
              <a:t>яким визначено перші кроки запровадження підприємствами звітності із сталого розвитку</a:t>
            </a:r>
            <a:endParaRPr lang="uk-UA" dirty="0">
              <a:solidFill>
                <a:schemeClr val="accent3">
                  <a:lumMod val="75000"/>
                </a:schemeClr>
              </a:solidFill>
            </a:endParaRPr>
          </a:p>
        </p:txBody>
      </p:sp>
    </p:spTree>
    <p:extLst>
      <p:ext uri="{BB962C8B-B14F-4D97-AF65-F5344CB8AC3E}">
        <p14:creationId xmlns:p14="http://schemas.microsoft.com/office/powerpoint/2010/main" val="1119933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Graphic 20">
            <a:extLst>
              <a:ext uri="{FF2B5EF4-FFF2-40B4-BE49-F238E27FC236}">
                <a16:creationId xmlns:a16="http://schemas.microsoft.com/office/drawing/2014/main" id="{A6722032-24A5-4FC5-ADAD-CC4BD07803E4}"/>
              </a:ext>
            </a:extLst>
          </p:cNvPr>
          <p:cNvSpPr/>
          <p:nvPr/>
        </p:nvSpPr>
        <p:spPr>
          <a:xfrm>
            <a:off x="375456" y="209879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pPr algn="ctr"/>
            <a:r>
              <a:rPr lang="uk-UA" dirty="0"/>
              <a:t>а</a:t>
            </a:r>
            <a:r>
              <a:rPr lang="uk-UA" dirty="0" smtClean="0"/>
              <a:t>)</a:t>
            </a:r>
            <a:endParaRPr lang="uk-UA" dirty="0"/>
          </a:p>
        </p:txBody>
      </p:sp>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6510"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32" name="Text Placeholder 131">
            <a:extLst>
              <a:ext uri="{FF2B5EF4-FFF2-40B4-BE49-F238E27FC236}">
                <a16:creationId xmlns:a16="http://schemas.microsoft.com/office/drawing/2014/main" id="{6A5701B5-8EF9-489C-BF66-E9365C84051E}"/>
              </a:ext>
            </a:extLst>
          </p:cNvPr>
          <p:cNvSpPr>
            <a:spLocks noGrp="1"/>
          </p:cNvSpPr>
          <p:nvPr>
            <p:ph type="body" sz="quarter" idx="10"/>
          </p:nvPr>
        </p:nvSpPr>
        <p:spPr/>
        <p:txBody>
          <a:bodyPr/>
          <a:lstStyle/>
          <a:p>
            <a:r>
              <a:rPr lang="uk-UA" dirty="0" smtClean="0"/>
              <a:t>Цілі </a:t>
            </a:r>
            <a:r>
              <a:rPr lang="uk-UA" dirty="0"/>
              <a:t>сталого </a:t>
            </a:r>
            <a:r>
              <a:rPr lang="uk-UA" dirty="0" smtClean="0"/>
              <a:t>розвитку</a:t>
            </a:r>
            <a:endParaRPr lang="uk-UA" dirty="0"/>
          </a:p>
        </p:txBody>
      </p:sp>
      <p:sp>
        <p:nvSpPr>
          <p:cNvPr id="115" name="Text Placeholder 114">
            <a:extLst>
              <a:ext uri="{FF2B5EF4-FFF2-40B4-BE49-F238E27FC236}">
                <a16:creationId xmlns:a16="http://schemas.microsoft.com/office/drawing/2014/main" id="{73407256-34B0-4EB5-A39B-6549459D0CAD}"/>
              </a:ext>
            </a:extLst>
          </p:cNvPr>
          <p:cNvSpPr>
            <a:spLocks noGrp="1"/>
          </p:cNvSpPr>
          <p:nvPr>
            <p:ph type="body" sz="quarter" idx="13"/>
          </p:nvPr>
        </p:nvSpPr>
        <p:spPr>
          <a:xfrm>
            <a:off x="1851659" y="2158428"/>
            <a:ext cx="3915889" cy="1493202"/>
          </a:xfrm>
        </p:spPr>
        <p:txBody>
          <a:bodyPr/>
          <a:lstStyle/>
          <a:p>
            <a:r>
              <a:rPr lang="uk-UA" sz="1200" dirty="0"/>
              <a:t>Україна, як </a:t>
            </a:r>
            <a:r>
              <a:rPr lang="uk-UA" sz="1200" dirty="0" smtClean="0"/>
              <a:t>член </a:t>
            </a:r>
            <a:r>
              <a:rPr lang="uk-UA" sz="1200" dirty="0"/>
              <a:t>ООН, приєдналася до глобального </a:t>
            </a:r>
            <a:r>
              <a:rPr lang="uk-UA" sz="1200" dirty="0" smtClean="0"/>
              <a:t>процесу сталого розвитку після прийняття у 2015 році на </a:t>
            </a:r>
            <a:r>
              <a:rPr lang="uk-UA" sz="1200" dirty="0"/>
              <a:t>Саміті ООН </a:t>
            </a:r>
            <a:r>
              <a:rPr lang="uk-UA" sz="1200" dirty="0" smtClean="0"/>
              <a:t>підсумкового </a:t>
            </a:r>
            <a:r>
              <a:rPr lang="uk-UA" sz="1200" dirty="0"/>
              <a:t>документа «Перетворення нашого світу: порядок денний у сфері сталого розвитку до 2030 року», яким затверджено 17 цілей сталого розвитку </a:t>
            </a:r>
            <a:r>
              <a:rPr lang="uk-UA" sz="1200" dirty="0" smtClean="0"/>
              <a:t>до </a:t>
            </a:r>
            <a:r>
              <a:rPr lang="uk-UA" sz="1200" dirty="0"/>
              <a:t>2030 </a:t>
            </a:r>
            <a:r>
              <a:rPr lang="uk-UA" sz="1200" dirty="0" smtClean="0"/>
              <a:t>року</a:t>
            </a:r>
            <a:endParaRPr lang="uk-UA" sz="1200" dirty="0"/>
          </a:p>
        </p:txBody>
      </p:sp>
      <p:sp>
        <p:nvSpPr>
          <p:cNvPr id="134" name="Text Placeholder 133">
            <a:extLst>
              <a:ext uri="{FF2B5EF4-FFF2-40B4-BE49-F238E27FC236}">
                <a16:creationId xmlns:a16="http://schemas.microsoft.com/office/drawing/2014/main" id="{B6E4F85B-E769-483B-B64A-2A706CB14499}"/>
              </a:ext>
            </a:extLst>
          </p:cNvPr>
          <p:cNvSpPr>
            <a:spLocks noGrp="1"/>
          </p:cNvSpPr>
          <p:nvPr>
            <p:ph type="body" sz="quarter" idx="14"/>
          </p:nvPr>
        </p:nvSpPr>
        <p:spPr>
          <a:xfrm>
            <a:off x="7592476" y="4289018"/>
            <a:ext cx="3322956" cy="528637"/>
          </a:xfrm>
        </p:spPr>
        <p:txBody>
          <a:bodyPr/>
          <a:lstStyle/>
          <a:p>
            <a:r>
              <a:rPr lang="uk-UA" dirty="0" smtClean="0"/>
              <a:t>Набуття Україною статусу кандидата </a:t>
            </a:r>
            <a:endParaRPr lang="uk-UA" dirty="0"/>
          </a:p>
        </p:txBody>
      </p:sp>
      <p:sp>
        <p:nvSpPr>
          <p:cNvPr id="117" name="Text Placeholder 116">
            <a:extLst>
              <a:ext uri="{FF2B5EF4-FFF2-40B4-BE49-F238E27FC236}">
                <a16:creationId xmlns:a16="http://schemas.microsoft.com/office/drawing/2014/main" id="{16018086-4666-4066-B3A2-3CA864AB15A5}"/>
              </a:ext>
            </a:extLst>
          </p:cNvPr>
          <p:cNvSpPr>
            <a:spLocks noGrp="1"/>
          </p:cNvSpPr>
          <p:nvPr>
            <p:ph type="body" sz="quarter" idx="17"/>
          </p:nvPr>
        </p:nvSpPr>
        <p:spPr>
          <a:xfrm>
            <a:off x="7592476" y="4871681"/>
            <a:ext cx="3654643" cy="1252577"/>
          </a:xfrm>
        </p:spPr>
        <p:txBody>
          <a:bodyPr/>
          <a:lstStyle/>
          <a:p>
            <a:r>
              <a:rPr lang="uk-UA" sz="1200" dirty="0" smtClean="0"/>
              <a:t>Оскільки 23 червня 2022 року Україна набула статусу кандидата на членство в Європейському Союзі, приведення законодавства України у відповідність до вимог європейського законодавства стало одним з основних зобов'язань України у цьому процесі</a:t>
            </a:r>
            <a:endParaRPr lang="uk-UA" sz="1200" dirty="0"/>
          </a:p>
        </p:txBody>
      </p:sp>
      <p:sp>
        <p:nvSpPr>
          <p:cNvPr id="32" name="Slide Number Placeholder 8">
            <a:extLst>
              <a:ext uri="{FF2B5EF4-FFF2-40B4-BE49-F238E27FC236}">
                <a16:creationId xmlns:a16="http://schemas.microsoft.com/office/drawing/2014/main" id="{E8864F1D-6B7E-48C3-B838-9C60F3407721}"/>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8</a:t>
            </a:fld>
            <a:endParaRPr lang="uk-UA" sz="900" dirty="0">
              <a:latin typeface="+mn-lt"/>
            </a:endParaRPr>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a:xfrm>
            <a:off x="609600" y="469415"/>
            <a:ext cx="9878567" cy="389715"/>
          </a:xfrm>
        </p:spPr>
        <p:txBody>
          <a:bodyPr/>
          <a:lstStyle/>
          <a:p>
            <a:pPr lvl="0"/>
            <a:r>
              <a:rPr lang="uk-UA" sz="2800" dirty="0"/>
              <a:t>Передумови запровадження підприємствами звітності із сталого розвитку</a:t>
            </a:r>
            <a:endParaRPr lang="en-US" sz="2800" dirty="0"/>
          </a:p>
        </p:txBody>
      </p:sp>
      <p:sp>
        <p:nvSpPr>
          <p:cNvPr id="46" name="Graphic 20">
            <a:extLst>
              <a:ext uri="{FF2B5EF4-FFF2-40B4-BE49-F238E27FC236}">
                <a16:creationId xmlns:a16="http://schemas.microsoft.com/office/drawing/2014/main" id="{151FBCBB-58A2-4DE4-B34F-10B5F795818E}"/>
              </a:ext>
            </a:extLst>
          </p:cNvPr>
          <p:cNvSpPr/>
          <p:nvPr/>
        </p:nvSpPr>
        <p:spPr>
          <a:xfrm>
            <a:off x="357550" y="4593705"/>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pPr algn="ctr"/>
            <a:r>
              <a:rPr lang="uk-UA" dirty="0"/>
              <a:t>б</a:t>
            </a:r>
            <a:r>
              <a:rPr lang="uk-UA" dirty="0" smtClean="0"/>
              <a:t>)</a:t>
            </a:r>
            <a:endParaRPr lang="uk-UA" dirty="0"/>
          </a:p>
        </p:txBody>
      </p:sp>
      <p:sp>
        <p:nvSpPr>
          <p:cNvPr id="52" name="Graphic 20">
            <a:extLst>
              <a:ext uri="{FF2B5EF4-FFF2-40B4-BE49-F238E27FC236}">
                <a16:creationId xmlns:a16="http://schemas.microsoft.com/office/drawing/2014/main" id="{ED0C0798-597F-4E55-A327-EF10F88D99BD}"/>
              </a:ext>
            </a:extLst>
          </p:cNvPr>
          <p:cNvSpPr/>
          <p:nvPr/>
        </p:nvSpPr>
        <p:spPr>
          <a:xfrm>
            <a:off x="6154838" y="209879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pPr algn="ctr"/>
            <a:r>
              <a:rPr lang="uk-UA" dirty="0"/>
              <a:t>в</a:t>
            </a:r>
            <a:r>
              <a:rPr lang="uk-UA" dirty="0" smtClean="0"/>
              <a:t>)</a:t>
            </a:r>
            <a:endParaRPr lang="uk-UA" dirty="0"/>
          </a:p>
        </p:txBody>
      </p:sp>
      <p:sp>
        <p:nvSpPr>
          <p:cNvPr id="56" name="Graphic 20">
            <a:extLst>
              <a:ext uri="{FF2B5EF4-FFF2-40B4-BE49-F238E27FC236}">
                <a16:creationId xmlns:a16="http://schemas.microsoft.com/office/drawing/2014/main" id="{12427822-5DEF-473C-97E6-FC50BDCBC518}"/>
              </a:ext>
            </a:extLst>
          </p:cNvPr>
          <p:cNvSpPr/>
          <p:nvPr/>
        </p:nvSpPr>
        <p:spPr>
          <a:xfrm>
            <a:off x="6154838" y="4601089"/>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pPr algn="ctr"/>
            <a:r>
              <a:rPr lang="uk-UA" dirty="0"/>
              <a:t>г</a:t>
            </a:r>
            <a:r>
              <a:rPr lang="uk-UA" dirty="0" smtClean="0"/>
              <a:t>)</a:t>
            </a:r>
            <a:endParaRPr lang="uk-UA" dirty="0"/>
          </a:p>
        </p:txBody>
      </p:sp>
      <p:sp>
        <p:nvSpPr>
          <p:cNvPr id="23" name="Text Placeholder 112">
            <a:extLst>
              <a:ext uri="{FF2B5EF4-FFF2-40B4-BE49-F238E27FC236}">
                <a16:creationId xmlns:a16="http://schemas.microsoft.com/office/drawing/2014/main" id="{6404955E-000D-4EF2-BE78-D962527F0CB8}"/>
              </a:ext>
            </a:extLst>
          </p:cNvPr>
          <p:cNvSpPr>
            <a:spLocks noGrp="1"/>
          </p:cNvSpPr>
          <p:nvPr>
            <p:ph type="body" sz="quarter" idx="11"/>
          </p:nvPr>
        </p:nvSpPr>
        <p:spPr>
          <a:xfrm>
            <a:off x="1795188" y="4691480"/>
            <a:ext cx="3462620" cy="1432778"/>
          </a:xfrm>
        </p:spPr>
        <p:txBody>
          <a:bodyPr/>
          <a:lstStyle/>
          <a:p>
            <a:r>
              <a:rPr lang="uk-UA" sz="1200" dirty="0" smtClean="0"/>
              <a:t>У зв'язку з підписанням у 2017 році Угоди про асоціацію Україною взято </a:t>
            </a:r>
            <a:r>
              <a:rPr lang="uk-UA" sz="1200" dirty="0"/>
              <a:t>зобов’язання </a:t>
            </a:r>
            <a:r>
              <a:rPr lang="uk-UA" sz="1200" dirty="0" smtClean="0"/>
              <a:t>щодо гармонізації </a:t>
            </a:r>
            <a:r>
              <a:rPr lang="uk-UA" sz="1200" dirty="0"/>
              <a:t>національного законодавства з вимогами європейського законодавства, зокрема у сферах бухгалтерського обліку та аудиту</a:t>
            </a:r>
          </a:p>
          <a:p>
            <a:endParaRPr lang="uk-UA" sz="1200" dirty="0"/>
          </a:p>
        </p:txBody>
      </p:sp>
      <p:sp>
        <p:nvSpPr>
          <p:cNvPr id="24" name="Text Placeholder 132">
            <a:extLst>
              <a:ext uri="{FF2B5EF4-FFF2-40B4-BE49-F238E27FC236}">
                <a16:creationId xmlns:a16="http://schemas.microsoft.com/office/drawing/2014/main" id="{B7A497D6-FB1E-4A06-A4B1-D7B2AA932E4B}"/>
              </a:ext>
            </a:extLst>
          </p:cNvPr>
          <p:cNvSpPr>
            <a:spLocks noGrp="1"/>
          </p:cNvSpPr>
          <p:nvPr>
            <p:ph type="body" sz="quarter" idx="12"/>
          </p:nvPr>
        </p:nvSpPr>
        <p:spPr>
          <a:xfrm>
            <a:off x="1851659" y="4403616"/>
            <a:ext cx="3322956" cy="528637"/>
          </a:xfrm>
        </p:spPr>
        <p:txBody>
          <a:bodyPr/>
          <a:lstStyle/>
          <a:p>
            <a:r>
              <a:rPr lang="uk-UA" dirty="0" smtClean="0"/>
              <a:t>Угода </a:t>
            </a:r>
            <a:r>
              <a:rPr lang="uk-UA" dirty="0"/>
              <a:t>про а</a:t>
            </a:r>
            <a:r>
              <a:rPr lang="uk-UA" dirty="0" smtClean="0"/>
              <a:t>соціацію</a:t>
            </a:r>
            <a:endParaRPr lang="uk-UA" dirty="0"/>
          </a:p>
        </p:txBody>
      </p:sp>
      <p:sp>
        <p:nvSpPr>
          <p:cNvPr id="27" name="Text Placeholder 118">
            <a:extLst>
              <a:ext uri="{FF2B5EF4-FFF2-40B4-BE49-F238E27FC236}">
                <a16:creationId xmlns:a16="http://schemas.microsoft.com/office/drawing/2014/main" id="{C2661E0E-357D-42A0-B6D9-26EABE3D2457}"/>
              </a:ext>
            </a:extLst>
          </p:cNvPr>
          <p:cNvSpPr txBox="1">
            <a:spLocks/>
          </p:cNvSpPr>
          <p:nvPr/>
        </p:nvSpPr>
        <p:spPr>
          <a:xfrm>
            <a:off x="7521932" y="2171001"/>
            <a:ext cx="4145915" cy="1782445"/>
          </a:xfrm>
          <a:prstGeom prst="rect">
            <a:avLst/>
          </a:prstGeom>
        </p:spPr>
        <p:txBody>
          <a:bodyPr vert="horz" lIns="0" tIns="0" rIns="0" bIns="0" rtlCol="0">
            <a:noAutofit/>
          </a:bodyPr>
          <a:lstStyle/>
          <a:p>
            <a:pPr>
              <a:spcAft>
                <a:spcPts val="0"/>
              </a:spcAft>
            </a:pPr>
            <a:r>
              <a:rPr lang="uk-UA" sz="1200" dirty="0"/>
              <a:t>Указом Президента України від 30.09.2019 № 722 «Про Цілі сталого розвитку України на період до 2030 року» визначено Цілі сталого розвитку України на період до 2030 року, які є орієнтирами для розроблення проєктів прогнозних і програмних документів, проєктів нормативно-правових актів для забезпечення збалансованості економічного, соціального та екологічного вимірів сталого розвитку України</a:t>
            </a:r>
          </a:p>
        </p:txBody>
      </p:sp>
      <p:sp>
        <p:nvSpPr>
          <p:cNvPr id="28" name="Text Placeholder 134">
            <a:extLst>
              <a:ext uri="{FF2B5EF4-FFF2-40B4-BE49-F238E27FC236}">
                <a16:creationId xmlns:a16="http://schemas.microsoft.com/office/drawing/2014/main" id="{D190A70A-1223-47E5-A320-4A568AB4DE96}"/>
              </a:ext>
            </a:extLst>
          </p:cNvPr>
          <p:cNvSpPr txBox="1">
            <a:spLocks/>
          </p:cNvSpPr>
          <p:nvPr/>
        </p:nvSpPr>
        <p:spPr>
          <a:xfrm>
            <a:off x="7565905" y="1766041"/>
            <a:ext cx="3655060" cy="498475"/>
          </a:xfrm>
          <a:prstGeom prst="rect">
            <a:avLst/>
          </a:prstGeom>
        </p:spPr>
        <p:txBody>
          <a:bodyPr vert="horz" lIns="0" tIns="0" rIns="0" bIns="0" rtlCol="0">
            <a:noAutofit/>
          </a:bodyPr>
          <a:lstStyle/>
          <a:p>
            <a:pPr>
              <a:spcAft>
                <a:spcPts val="0"/>
              </a:spcAft>
            </a:pPr>
            <a:r>
              <a:rPr lang="uk-UA" sz="1600" dirty="0">
                <a:solidFill>
                  <a:schemeClr val="accent2"/>
                </a:solidFill>
                <a:latin typeface="+mj-lt"/>
              </a:rPr>
              <a:t>Цілі сталого розвитку України</a:t>
            </a:r>
          </a:p>
        </p:txBody>
      </p:sp>
    </p:spTree>
    <p:extLst>
      <p:ext uri="{BB962C8B-B14F-4D97-AF65-F5344CB8AC3E}">
        <p14:creationId xmlns:p14="http://schemas.microsoft.com/office/powerpoint/2010/main" val="19978909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7534"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89017C72-A07D-4DA0-82B8-1E1E5E8D3E52}"/>
              </a:ext>
            </a:extLst>
          </p:cNvPr>
          <p:cNvSpPr>
            <a:spLocks noGrp="1"/>
          </p:cNvSpPr>
          <p:nvPr>
            <p:ph type="body" sz="quarter" idx="15"/>
          </p:nvPr>
        </p:nvSpPr>
        <p:spPr>
          <a:xfrm>
            <a:off x="731838" y="4054789"/>
            <a:ext cx="3143984" cy="1748134"/>
          </a:xfrm>
        </p:spPr>
        <p:txBody>
          <a:bodyPr/>
          <a:lstStyle/>
          <a:p>
            <a:r>
              <a:rPr lang="uk-UA" dirty="0"/>
              <a:t>адаптацію національного законодавства до законодавства Європейського Союзу у цій </a:t>
            </a:r>
            <a:r>
              <a:rPr lang="uk-UA" dirty="0" smtClean="0"/>
              <a:t>сфері</a:t>
            </a:r>
            <a:endParaRPr lang="uk-UA" dirty="0"/>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dirty="0"/>
              <a:t>Метою Стратегії є:</a:t>
            </a:r>
            <a:endParaRPr lang="en-US" dirty="0"/>
          </a:p>
        </p:txBody>
      </p:sp>
      <p:sp>
        <p:nvSpPr>
          <p:cNvPr id="5" name="Text Placeholder 4">
            <a:extLst>
              <a:ext uri="{FF2B5EF4-FFF2-40B4-BE49-F238E27FC236}">
                <a16:creationId xmlns:a16="http://schemas.microsoft.com/office/drawing/2014/main" id="{22BA6ED9-E631-4C85-A10F-6F61D874DD6E}"/>
              </a:ext>
            </a:extLst>
          </p:cNvPr>
          <p:cNvSpPr>
            <a:spLocks noGrp="1"/>
          </p:cNvSpPr>
          <p:nvPr>
            <p:ph type="body" sz="quarter" idx="19"/>
          </p:nvPr>
        </p:nvSpPr>
        <p:spPr>
          <a:xfrm>
            <a:off x="4747845" y="3938954"/>
            <a:ext cx="3121269" cy="1784837"/>
          </a:xfrm>
        </p:spPr>
        <p:txBody>
          <a:bodyPr/>
          <a:lstStyle/>
          <a:p>
            <a:r>
              <a:rPr lang="uk-UA" dirty="0"/>
              <a:t>сприятиме виходу українських підприємств на міжнародні ринки </a:t>
            </a:r>
            <a:r>
              <a:rPr lang="uk-UA" dirty="0" smtClean="0"/>
              <a:t>капіталу</a:t>
            </a:r>
            <a:endParaRPr lang="uk-UA" dirty="0"/>
          </a:p>
        </p:txBody>
      </p:sp>
      <p:sp>
        <p:nvSpPr>
          <p:cNvPr id="29" name="Text Placeholder 28">
            <a:extLst>
              <a:ext uri="{FF2B5EF4-FFF2-40B4-BE49-F238E27FC236}">
                <a16:creationId xmlns:a16="http://schemas.microsoft.com/office/drawing/2014/main" id="{2FD1C625-5931-4D63-BA70-660E6E757BA9}"/>
              </a:ext>
            </a:extLst>
          </p:cNvPr>
          <p:cNvSpPr>
            <a:spLocks noGrp="1"/>
          </p:cNvSpPr>
          <p:nvPr>
            <p:ph type="body" sz="quarter" idx="21"/>
          </p:nvPr>
        </p:nvSpPr>
        <p:spPr>
          <a:xfrm>
            <a:off x="8695592" y="3921369"/>
            <a:ext cx="2801082" cy="1415562"/>
          </a:xfrm>
        </p:spPr>
        <p:txBody>
          <a:bodyPr/>
          <a:lstStyle/>
          <a:p>
            <a:r>
              <a:rPr lang="uk-UA" dirty="0"/>
              <a:t>залученню іноземних інвестицій</a:t>
            </a:r>
          </a:p>
        </p:txBody>
      </p:sp>
      <p:sp>
        <p:nvSpPr>
          <p:cNvPr id="45" name="Graphic 20">
            <a:extLst>
              <a:ext uri="{FF2B5EF4-FFF2-40B4-BE49-F238E27FC236}">
                <a16:creationId xmlns:a16="http://schemas.microsoft.com/office/drawing/2014/main" id="{A6722032-24A5-4FC5-ADAD-CC4BD07803E4}"/>
              </a:ext>
            </a:extLst>
          </p:cNvPr>
          <p:cNvSpPr/>
          <p:nvPr/>
        </p:nvSpPr>
        <p:spPr>
          <a:xfrm>
            <a:off x="1433146" y="3112477"/>
            <a:ext cx="1433146" cy="720969"/>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52" name="Graphic 20">
            <a:extLst>
              <a:ext uri="{FF2B5EF4-FFF2-40B4-BE49-F238E27FC236}">
                <a16:creationId xmlns:a16="http://schemas.microsoft.com/office/drawing/2014/main" id="{ED0C0798-597F-4E55-A327-EF10F88D99BD}"/>
              </a:ext>
            </a:extLst>
          </p:cNvPr>
          <p:cNvSpPr/>
          <p:nvPr/>
        </p:nvSpPr>
        <p:spPr>
          <a:xfrm>
            <a:off x="5485633" y="3103685"/>
            <a:ext cx="1363575" cy="773723"/>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43" name="Graphic 20">
            <a:extLst>
              <a:ext uri="{FF2B5EF4-FFF2-40B4-BE49-F238E27FC236}">
                <a16:creationId xmlns:a16="http://schemas.microsoft.com/office/drawing/2014/main" id="{C34844F4-2C28-4B8A-BAD3-BC308775302D}"/>
              </a:ext>
            </a:extLst>
          </p:cNvPr>
          <p:cNvSpPr/>
          <p:nvPr/>
        </p:nvSpPr>
        <p:spPr>
          <a:xfrm>
            <a:off x="9464960" y="3165230"/>
            <a:ext cx="1437502" cy="694593"/>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74" name="Graphic 40">
            <a:extLst>
              <a:ext uri="{FF2B5EF4-FFF2-40B4-BE49-F238E27FC236}">
                <a16:creationId xmlns:a16="http://schemas.microsoft.com/office/drawing/2014/main" id="{05C0A8E1-52CB-4EB9-848D-79A46E88B5CA}"/>
              </a:ext>
            </a:extLst>
          </p:cNvPr>
          <p:cNvSpPr/>
          <p:nvPr/>
        </p:nvSpPr>
        <p:spPr>
          <a:xfrm rot="16200000">
            <a:off x="3825510" y="3348038"/>
            <a:ext cx="609600" cy="314325"/>
          </a:xfrm>
          <a:custGeom>
            <a:avLst/>
            <a:gdLst>
              <a:gd name="connsiteX0" fmla="*/ 7144 w 609600"/>
              <a:gd name="connsiteY0" fmla="*/ 7144 h 314325"/>
              <a:gd name="connsiteX1" fmla="*/ 610838 w 609600"/>
              <a:gd name="connsiteY1" fmla="*/ 7144 h 314325"/>
              <a:gd name="connsiteX2" fmla="*/ 308991 w 609600"/>
              <a:gd name="connsiteY2" fmla="*/ 308991 h 314325"/>
              <a:gd name="connsiteX3" fmla="*/ 7144 w 609600"/>
              <a:gd name="connsiteY3" fmla="*/ 7144 h 314325"/>
            </a:gdLst>
            <a:ahLst/>
            <a:cxnLst>
              <a:cxn ang="0">
                <a:pos x="connsiteX0" y="connsiteY0"/>
              </a:cxn>
              <a:cxn ang="0">
                <a:pos x="connsiteX1" y="connsiteY1"/>
              </a:cxn>
              <a:cxn ang="0">
                <a:pos x="connsiteX2" y="connsiteY2"/>
              </a:cxn>
              <a:cxn ang="0">
                <a:pos x="connsiteX3" y="connsiteY3"/>
              </a:cxn>
            </a:cxnLst>
            <a:rect l="l" t="t" r="r" b="b"/>
            <a:pathLst>
              <a:path w="609600" h="314325">
                <a:moveTo>
                  <a:pt x="7144" y="7144"/>
                </a:moveTo>
                <a:lnTo>
                  <a:pt x="610838" y="7144"/>
                </a:lnTo>
                <a:lnTo>
                  <a:pt x="308991" y="308991"/>
                </a:lnTo>
                <a:lnTo>
                  <a:pt x="7144" y="7144"/>
                </a:lnTo>
                <a:close/>
              </a:path>
            </a:pathLst>
          </a:custGeom>
          <a:solidFill>
            <a:schemeClr val="accent2"/>
          </a:solidFill>
          <a:ln w="9525" cap="flat">
            <a:noFill/>
            <a:prstDash val="solid"/>
            <a:miter/>
          </a:ln>
        </p:spPr>
        <p:txBody>
          <a:bodyPr rtlCol="0" anchor="ctr"/>
          <a:lstStyle/>
          <a:p>
            <a:endParaRPr lang="uk-UA"/>
          </a:p>
        </p:txBody>
      </p:sp>
      <p:sp>
        <p:nvSpPr>
          <p:cNvPr id="99" name="Graphic 40">
            <a:extLst>
              <a:ext uri="{FF2B5EF4-FFF2-40B4-BE49-F238E27FC236}">
                <a16:creationId xmlns:a16="http://schemas.microsoft.com/office/drawing/2014/main" id="{24F774E2-09D6-4CD2-9F69-8BB6FB514921}"/>
              </a:ext>
            </a:extLst>
          </p:cNvPr>
          <p:cNvSpPr/>
          <p:nvPr/>
        </p:nvSpPr>
        <p:spPr>
          <a:xfrm rot="16200000">
            <a:off x="7725274" y="3391999"/>
            <a:ext cx="609600" cy="314325"/>
          </a:xfrm>
          <a:custGeom>
            <a:avLst/>
            <a:gdLst>
              <a:gd name="connsiteX0" fmla="*/ 7144 w 609600"/>
              <a:gd name="connsiteY0" fmla="*/ 7144 h 314325"/>
              <a:gd name="connsiteX1" fmla="*/ 610838 w 609600"/>
              <a:gd name="connsiteY1" fmla="*/ 7144 h 314325"/>
              <a:gd name="connsiteX2" fmla="*/ 308991 w 609600"/>
              <a:gd name="connsiteY2" fmla="*/ 308991 h 314325"/>
              <a:gd name="connsiteX3" fmla="*/ 7144 w 609600"/>
              <a:gd name="connsiteY3" fmla="*/ 7144 h 314325"/>
            </a:gdLst>
            <a:ahLst/>
            <a:cxnLst>
              <a:cxn ang="0">
                <a:pos x="connsiteX0" y="connsiteY0"/>
              </a:cxn>
              <a:cxn ang="0">
                <a:pos x="connsiteX1" y="connsiteY1"/>
              </a:cxn>
              <a:cxn ang="0">
                <a:pos x="connsiteX2" y="connsiteY2"/>
              </a:cxn>
              <a:cxn ang="0">
                <a:pos x="connsiteX3" y="connsiteY3"/>
              </a:cxn>
            </a:cxnLst>
            <a:rect l="l" t="t" r="r" b="b"/>
            <a:pathLst>
              <a:path w="609600" h="314325">
                <a:moveTo>
                  <a:pt x="7144" y="7144"/>
                </a:moveTo>
                <a:lnTo>
                  <a:pt x="610838" y="7144"/>
                </a:lnTo>
                <a:lnTo>
                  <a:pt x="308991" y="308991"/>
                </a:lnTo>
                <a:lnTo>
                  <a:pt x="7144" y="7144"/>
                </a:lnTo>
                <a:close/>
              </a:path>
            </a:pathLst>
          </a:custGeom>
          <a:solidFill>
            <a:schemeClr val="accent2"/>
          </a:solidFill>
          <a:ln w="9525" cap="flat">
            <a:noFill/>
            <a:prstDash val="solid"/>
            <a:miter/>
          </a:ln>
        </p:spPr>
        <p:txBody>
          <a:bodyPr rtlCol="0" anchor="ctr"/>
          <a:lstStyle/>
          <a:p>
            <a:endParaRPr lang="uk-UA"/>
          </a:p>
        </p:txBody>
      </p:sp>
      <p:sp>
        <p:nvSpPr>
          <p:cNvPr id="30" name="Slide Number Placeholder 8">
            <a:extLst>
              <a:ext uri="{FF2B5EF4-FFF2-40B4-BE49-F238E27FC236}">
                <a16:creationId xmlns:a16="http://schemas.microsoft.com/office/drawing/2014/main" id="{A5957596-08F6-4D29-8212-29C97E285B63}"/>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19</a:t>
            </a:fld>
            <a:endParaRPr lang="uk-UA" sz="900" dirty="0">
              <a:latin typeface="+mn-lt"/>
            </a:endParaRPr>
          </a:p>
        </p:txBody>
      </p:sp>
      <p:sp>
        <p:nvSpPr>
          <p:cNvPr id="32" name="Text Placeholder 3">
            <a:extLst>
              <a:ext uri="{FF2B5EF4-FFF2-40B4-BE49-F238E27FC236}">
                <a16:creationId xmlns:a16="http://schemas.microsoft.com/office/drawing/2014/main" id="{32F4BCA1-7CE8-4E27-9636-3D888CCB0345}"/>
              </a:ext>
            </a:extLst>
          </p:cNvPr>
          <p:cNvSpPr txBox="1">
            <a:spLocks/>
          </p:cNvSpPr>
          <p:nvPr/>
        </p:nvSpPr>
        <p:spPr>
          <a:xfrm>
            <a:off x="731838" y="1608992"/>
            <a:ext cx="10161831" cy="641839"/>
          </a:xfrm>
          <a:prstGeom prst="rect">
            <a:avLst/>
          </a:prstGeom>
        </p:spPr>
        <p:txBody>
          <a:bodyPr vert="horz" lIns="0" tIns="0" rIns="0" bIns="0" rtlCol="0">
            <a:noAutofit/>
          </a:bodyPr>
          <a:lstStyle>
            <a:lvl1pPr marL="104775" marR="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defRPr sz="16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baseline="0">
                <a:solidFill>
                  <a:schemeClr val="tx1"/>
                </a:solidFill>
                <a:latin typeface="e-Ukraine UltraLight" panose="00000500000000000000" pitchFamily="2"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pPr marL="0" indent="0">
              <a:buNone/>
            </a:pPr>
            <a:r>
              <a:rPr lang="uk-UA" sz="1800" dirty="0" smtClean="0"/>
              <a:t>запровадження </a:t>
            </a:r>
            <a:r>
              <a:rPr lang="uk-UA" sz="1800" dirty="0"/>
              <a:t>подання звітності зі сталого розвитку в Україні до 2030 року, </a:t>
            </a:r>
            <a:r>
              <a:rPr lang="uk-UA" sz="1800" dirty="0" smtClean="0"/>
              <a:t>що забезпечить</a:t>
            </a:r>
          </a:p>
        </p:txBody>
      </p:sp>
      <p:grpSp>
        <p:nvGrpSpPr>
          <p:cNvPr id="33" name="Google Shape;5381;p54">
            <a:extLst>
              <a:ext uri="{FF2B5EF4-FFF2-40B4-BE49-F238E27FC236}">
                <a16:creationId xmlns:a16="http://schemas.microsoft.com/office/drawing/2014/main" id="{48E88B63-1FCD-411D-B421-663E9A1AF3E5}"/>
              </a:ext>
            </a:extLst>
          </p:cNvPr>
          <p:cNvGrpSpPr/>
          <p:nvPr/>
        </p:nvGrpSpPr>
        <p:grpSpPr>
          <a:xfrm>
            <a:off x="1960685" y="3235570"/>
            <a:ext cx="448407" cy="404446"/>
            <a:chOff x="-60988625" y="2310475"/>
            <a:chExt cx="316650" cy="311150"/>
          </a:xfrm>
          <a:solidFill>
            <a:schemeClr val="tx1"/>
          </a:solidFill>
        </p:grpSpPr>
        <p:sp>
          <p:nvSpPr>
            <p:cNvPr id="34" name="Google Shape;5382;p54">
              <a:extLst>
                <a:ext uri="{FF2B5EF4-FFF2-40B4-BE49-F238E27FC236}">
                  <a16:creationId xmlns:a16="http://schemas.microsoft.com/office/drawing/2014/main" id="{82D86DBD-18CC-4D4B-9FBB-EF392C4AB871}"/>
                </a:ext>
              </a:extLst>
            </p:cNvPr>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 name="Google Shape;5383;p54">
              <a:extLst>
                <a:ext uri="{FF2B5EF4-FFF2-40B4-BE49-F238E27FC236}">
                  <a16:creationId xmlns:a16="http://schemas.microsoft.com/office/drawing/2014/main" id="{14ABE932-7FD3-4550-914B-80DEF3BD43E1}"/>
                </a:ext>
              </a:extLst>
            </p:cNvPr>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5384;p54">
              <a:extLst>
                <a:ext uri="{FF2B5EF4-FFF2-40B4-BE49-F238E27FC236}">
                  <a16:creationId xmlns:a16="http://schemas.microsoft.com/office/drawing/2014/main" id="{074B4677-5A2B-452C-8E78-8BD5AE5D391D}"/>
                </a:ext>
              </a:extLst>
            </p:cNvPr>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5385;p54">
              <a:extLst>
                <a:ext uri="{FF2B5EF4-FFF2-40B4-BE49-F238E27FC236}">
                  <a16:creationId xmlns:a16="http://schemas.microsoft.com/office/drawing/2014/main" id="{0E19F04B-6D72-48BD-A709-DC8ACE639B0D}"/>
                </a:ext>
              </a:extLst>
            </p:cNvPr>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5386;p54">
              <a:extLst>
                <a:ext uri="{FF2B5EF4-FFF2-40B4-BE49-F238E27FC236}">
                  <a16:creationId xmlns:a16="http://schemas.microsoft.com/office/drawing/2014/main" id="{6D002C25-3A2B-4111-ABED-CBFF397D2394}"/>
                </a:ext>
              </a:extLst>
            </p:cNvPr>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9" name="Google Shape;5387;p54">
              <a:extLst>
                <a:ext uri="{FF2B5EF4-FFF2-40B4-BE49-F238E27FC236}">
                  <a16:creationId xmlns:a16="http://schemas.microsoft.com/office/drawing/2014/main" id="{1F72EDFF-225A-439C-93DE-C28F000EDD09}"/>
                </a:ext>
              </a:extLst>
            </p:cNvPr>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0" name="Google Shape;5409;p54">
            <a:extLst>
              <a:ext uri="{FF2B5EF4-FFF2-40B4-BE49-F238E27FC236}">
                <a16:creationId xmlns:a16="http://schemas.microsoft.com/office/drawing/2014/main" id="{13F8B364-C37D-4B46-A372-66224C4D77D1}"/>
              </a:ext>
            </a:extLst>
          </p:cNvPr>
          <p:cNvGrpSpPr/>
          <p:nvPr/>
        </p:nvGrpSpPr>
        <p:grpSpPr>
          <a:xfrm>
            <a:off x="5946234" y="3277371"/>
            <a:ext cx="454566" cy="450568"/>
            <a:chOff x="-62516625" y="2297875"/>
            <a:chExt cx="315875" cy="317650"/>
          </a:xfrm>
          <a:solidFill>
            <a:schemeClr val="tx1"/>
          </a:solidFill>
        </p:grpSpPr>
        <p:sp>
          <p:nvSpPr>
            <p:cNvPr id="41" name="Google Shape;5410;p54">
              <a:extLst>
                <a:ext uri="{FF2B5EF4-FFF2-40B4-BE49-F238E27FC236}">
                  <a16:creationId xmlns:a16="http://schemas.microsoft.com/office/drawing/2014/main" id="{89A81557-1B51-4D69-A8E8-D58A0AD39A72}"/>
                </a:ext>
              </a:extLst>
            </p:cNvPr>
            <p:cNvSpPr/>
            <p:nvPr/>
          </p:nvSpPr>
          <p:spPr>
            <a:xfrm>
              <a:off x="-62516625" y="2297875"/>
              <a:ext cx="315875" cy="317650"/>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5411;p54">
              <a:extLst>
                <a:ext uri="{FF2B5EF4-FFF2-40B4-BE49-F238E27FC236}">
                  <a16:creationId xmlns:a16="http://schemas.microsoft.com/office/drawing/2014/main" id="{2FB83B02-A8AD-484D-922B-077559408FC9}"/>
                </a:ext>
              </a:extLst>
            </p:cNvPr>
            <p:cNvSpPr/>
            <p:nvPr/>
          </p:nvSpPr>
          <p:spPr>
            <a:xfrm>
              <a:off x="-62335475" y="2438075"/>
              <a:ext cx="62250" cy="145750"/>
            </a:xfrm>
            <a:custGeom>
              <a:avLst/>
              <a:gdLst/>
              <a:ahLst/>
              <a:cxnLst/>
              <a:rect l="l" t="t" r="r" b="b"/>
              <a:pathLst>
                <a:path w="2490" h="5830" extrusionOk="0">
                  <a:moveTo>
                    <a:pt x="1261" y="1"/>
                  </a:moveTo>
                  <a:cubicBezTo>
                    <a:pt x="1009" y="1"/>
                    <a:pt x="820" y="190"/>
                    <a:pt x="820" y="410"/>
                  </a:cubicBezTo>
                  <a:lnTo>
                    <a:pt x="820" y="694"/>
                  </a:lnTo>
                  <a:cubicBezTo>
                    <a:pt x="348" y="851"/>
                    <a:pt x="1" y="1324"/>
                    <a:pt x="1" y="1891"/>
                  </a:cubicBezTo>
                  <a:cubicBezTo>
                    <a:pt x="1" y="2553"/>
                    <a:pt x="537" y="2931"/>
                    <a:pt x="978" y="3246"/>
                  </a:cubicBezTo>
                  <a:cubicBezTo>
                    <a:pt x="1293" y="3498"/>
                    <a:pt x="1639" y="3718"/>
                    <a:pt x="1639" y="3970"/>
                  </a:cubicBezTo>
                  <a:cubicBezTo>
                    <a:pt x="1671" y="4191"/>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20"/>
                  </a:lnTo>
                  <a:cubicBezTo>
                    <a:pt x="820" y="5672"/>
                    <a:pt x="1009" y="5829"/>
                    <a:pt x="1261" y="5829"/>
                  </a:cubicBezTo>
                  <a:cubicBezTo>
                    <a:pt x="1482" y="5829"/>
                    <a:pt x="1639" y="5609"/>
                    <a:pt x="1639" y="5420"/>
                  </a:cubicBezTo>
                  <a:lnTo>
                    <a:pt x="1639" y="5136"/>
                  </a:lnTo>
                  <a:cubicBezTo>
                    <a:pt x="2112" y="4978"/>
                    <a:pt x="2458" y="4506"/>
                    <a:pt x="2458" y="3970"/>
                  </a:cubicBezTo>
                  <a:cubicBezTo>
                    <a:pt x="2458" y="3309"/>
                    <a:pt x="1923" y="2899"/>
                    <a:pt x="1482" y="2584"/>
                  </a:cubicBezTo>
                  <a:cubicBezTo>
                    <a:pt x="1167" y="2364"/>
                    <a:pt x="820" y="2112"/>
                    <a:pt x="820" y="1891"/>
                  </a:cubicBezTo>
                  <a:cubicBezTo>
                    <a:pt x="820" y="1639"/>
                    <a:pt x="1009" y="1450"/>
                    <a:pt x="1261" y="1450"/>
                  </a:cubicBezTo>
                  <a:cubicBezTo>
                    <a:pt x="1482" y="1450"/>
                    <a:pt x="1639" y="1639"/>
                    <a:pt x="1639" y="1891"/>
                  </a:cubicBezTo>
                  <a:cubicBezTo>
                    <a:pt x="1639" y="2112"/>
                    <a:pt x="1860" y="2301"/>
                    <a:pt x="2049" y="2301"/>
                  </a:cubicBezTo>
                  <a:cubicBezTo>
                    <a:pt x="2269" y="2301"/>
                    <a:pt x="2490" y="2112"/>
                    <a:pt x="2490" y="1891"/>
                  </a:cubicBezTo>
                  <a:cubicBezTo>
                    <a:pt x="2490" y="1324"/>
                    <a:pt x="2112" y="883"/>
                    <a:pt x="1639" y="694"/>
                  </a:cubicBezTo>
                  <a:lnTo>
                    <a:pt x="1639" y="410"/>
                  </a:lnTo>
                  <a:cubicBezTo>
                    <a:pt x="1639" y="190"/>
                    <a:pt x="1450" y="1"/>
                    <a:pt x="126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 name="Google Shape;5173;p53">
            <a:extLst>
              <a:ext uri="{FF2B5EF4-FFF2-40B4-BE49-F238E27FC236}">
                <a16:creationId xmlns:a16="http://schemas.microsoft.com/office/drawing/2014/main" id="{AB7290CF-2D25-4D03-8A0F-D34310ABC6DC}"/>
              </a:ext>
            </a:extLst>
          </p:cNvPr>
          <p:cNvGrpSpPr/>
          <p:nvPr/>
        </p:nvGrpSpPr>
        <p:grpSpPr>
          <a:xfrm>
            <a:off x="9942839" y="3385038"/>
            <a:ext cx="488313" cy="270647"/>
            <a:chOff x="896050" y="2725450"/>
            <a:chExt cx="476500" cy="264100"/>
          </a:xfrm>
          <a:solidFill>
            <a:schemeClr val="tx1"/>
          </a:solidFill>
        </p:grpSpPr>
        <p:sp>
          <p:nvSpPr>
            <p:cNvPr id="46" name="Google Shape;5174;p53">
              <a:extLst>
                <a:ext uri="{FF2B5EF4-FFF2-40B4-BE49-F238E27FC236}">
                  <a16:creationId xmlns:a16="http://schemas.microsoft.com/office/drawing/2014/main" id="{50F7EBD9-BF4E-427B-B2BC-D56A0B2DFC51}"/>
                </a:ext>
              </a:extLst>
            </p:cNvPr>
            <p:cNvSpPr/>
            <p:nvPr/>
          </p:nvSpPr>
          <p:spPr>
            <a:xfrm>
              <a:off x="896050" y="2725450"/>
              <a:ext cx="476500" cy="264100"/>
            </a:xfrm>
            <a:custGeom>
              <a:avLst/>
              <a:gdLst/>
              <a:ahLst/>
              <a:cxnLst/>
              <a:rect l="l" t="t" r="r" b="b"/>
              <a:pathLst>
                <a:path w="19060" h="10564" extrusionOk="0">
                  <a:moveTo>
                    <a:pt x="17927" y="1133"/>
                  </a:moveTo>
                  <a:lnTo>
                    <a:pt x="17927" y="9431"/>
                  </a:lnTo>
                  <a:lnTo>
                    <a:pt x="1133" y="9431"/>
                  </a:lnTo>
                  <a:lnTo>
                    <a:pt x="1133" y="1133"/>
                  </a:lnTo>
                  <a:close/>
                  <a:moveTo>
                    <a:pt x="565" y="1"/>
                  </a:moveTo>
                  <a:cubicBezTo>
                    <a:pt x="254" y="1"/>
                    <a:pt x="1" y="255"/>
                    <a:pt x="1" y="569"/>
                  </a:cubicBezTo>
                  <a:lnTo>
                    <a:pt x="1" y="9995"/>
                  </a:lnTo>
                  <a:cubicBezTo>
                    <a:pt x="1" y="10309"/>
                    <a:pt x="254" y="10563"/>
                    <a:pt x="565" y="10563"/>
                  </a:cubicBezTo>
                  <a:lnTo>
                    <a:pt x="18495" y="10563"/>
                  </a:lnTo>
                  <a:cubicBezTo>
                    <a:pt x="18806" y="10563"/>
                    <a:pt x="19060" y="10309"/>
                    <a:pt x="19060" y="9995"/>
                  </a:cubicBezTo>
                  <a:lnTo>
                    <a:pt x="19060" y="569"/>
                  </a:lnTo>
                  <a:cubicBezTo>
                    <a:pt x="19060" y="255"/>
                    <a:pt x="18806" y="1"/>
                    <a:pt x="1849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sp>
          <p:nvSpPr>
            <p:cNvPr id="47" name="Google Shape;5175;p53">
              <a:extLst>
                <a:ext uri="{FF2B5EF4-FFF2-40B4-BE49-F238E27FC236}">
                  <a16:creationId xmlns:a16="http://schemas.microsoft.com/office/drawing/2014/main" id="{CF079535-4161-40B8-8E70-6106278EEFE4}"/>
                </a:ext>
              </a:extLst>
            </p:cNvPr>
            <p:cNvSpPr/>
            <p:nvPr/>
          </p:nvSpPr>
          <p:spPr>
            <a:xfrm>
              <a:off x="951625" y="2774675"/>
              <a:ext cx="365450" cy="165650"/>
            </a:xfrm>
            <a:custGeom>
              <a:avLst/>
              <a:gdLst/>
              <a:ahLst/>
              <a:cxnLst/>
              <a:rect l="l" t="t" r="r" b="b"/>
              <a:pathLst>
                <a:path w="14618" h="6626" extrusionOk="0">
                  <a:moveTo>
                    <a:pt x="12063" y="1133"/>
                  </a:moveTo>
                  <a:cubicBezTo>
                    <a:pt x="12259" y="1818"/>
                    <a:pt x="12797" y="2356"/>
                    <a:pt x="13485" y="2552"/>
                  </a:cubicBezTo>
                  <a:lnTo>
                    <a:pt x="13485" y="4074"/>
                  </a:lnTo>
                  <a:cubicBezTo>
                    <a:pt x="12797" y="4273"/>
                    <a:pt x="12259" y="4808"/>
                    <a:pt x="12063" y="5496"/>
                  </a:cubicBezTo>
                  <a:lnTo>
                    <a:pt x="2552" y="5496"/>
                  </a:lnTo>
                  <a:cubicBezTo>
                    <a:pt x="2355" y="4808"/>
                    <a:pt x="1818" y="4270"/>
                    <a:pt x="1129" y="4074"/>
                  </a:cubicBezTo>
                  <a:lnTo>
                    <a:pt x="1129" y="2552"/>
                  </a:lnTo>
                  <a:cubicBezTo>
                    <a:pt x="1818" y="2356"/>
                    <a:pt x="2355" y="1818"/>
                    <a:pt x="2552" y="1133"/>
                  </a:cubicBezTo>
                  <a:close/>
                  <a:moveTo>
                    <a:pt x="2065" y="1"/>
                  </a:moveTo>
                  <a:cubicBezTo>
                    <a:pt x="1751" y="1"/>
                    <a:pt x="1498" y="254"/>
                    <a:pt x="1498" y="568"/>
                  </a:cubicBezTo>
                  <a:cubicBezTo>
                    <a:pt x="1498" y="1082"/>
                    <a:pt x="1081" y="1501"/>
                    <a:pt x="565" y="1501"/>
                  </a:cubicBezTo>
                  <a:cubicBezTo>
                    <a:pt x="251" y="1501"/>
                    <a:pt x="0" y="1755"/>
                    <a:pt x="0" y="2069"/>
                  </a:cubicBezTo>
                  <a:lnTo>
                    <a:pt x="0" y="4560"/>
                  </a:lnTo>
                  <a:cubicBezTo>
                    <a:pt x="0" y="4871"/>
                    <a:pt x="251" y="5125"/>
                    <a:pt x="565" y="5125"/>
                  </a:cubicBezTo>
                  <a:cubicBezTo>
                    <a:pt x="1081" y="5125"/>
                    <a:pt x="1498" y="5544"/>
                    <a:pt x="1498" y="6061"/>
                  </a:cubicBezTo>
                  <a:cubicBezTo>
                    <a:pt x="1498" y="6372"/>
                    <a:pt x="1751" y="6625"/>
                    <a:pt x="2065" y="6625"/>
                  </a:cubicBezTo>
                  <a:lnTo>
                    <a:pt x="12549" y="6625"/>
                  </a:lnTo>
                  <a:cubicBezTo>
                    <a:pt x="12863" y="6625"/>
                    <a:pt x="13117" y="6372"/>
                    <a:pt x="13117" y="6061"/>
                  </a:cubicBezTo>
                  <a:cubicBezTo>
                    <a:pt x="13117" y="5544"/>
                    <a:pt x="13533" y="5125"/>
                    <a:pt x="14050" y="5125"/>
                  </a:cubicBezTo>
                  <a:cubicBezTo>
                    <a:pt x="14364" y="5125"/>
                    <a:pt x="14617" y="4871"/>
                    <a:pt x="14617" y="4560"/>
                  </a:cubicBezTo>
                  <a:lnTo>
                    <a:pt x="14617" y="2069"/>
                  </a:lnTo>
                  <a:cubicBezTo>
                    <a:pt x="14617" y="1755"/>
                    <a:pt x="14364" y="1501"/>
                    <a:pt x="14050" y="1501"/>
                  </a:cubicBezTo>
                  <a:cubicBezTo>
                    <a:pt x="13533" y="1501"/>
                    <a:pt x="13117" y="1082"/>
                    <a:pt x="13117" y="568"/>
                  </a:cubicBezTo>
                  <a:cubicBezTo>
                    <a:pt x="13117" y="254"/>
                    <a:pt x="12863" y="1"/>
                    <a:pt x="1254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sp>
          <p:nvSpPr>
            <p:cNvPr id="48" name="Google Shape;5176;p53">
              <a:extLst>
                <a:ext uri="{FF2B5EF4-FFF2-40B4-BE49-F238E27FC236}">
                  <a16:creationId xmlns:a16="http://schemas.microsoft.com/office/drawing/2014/main" id="{2606500D-AA40-4F53-9D82-BAC2313D5278}"/>
                </a:ext>
              </a:extLst>
            </p:cNvPr>
            <p:cNvSpPr/>
            <p:nvPr/>
          </p:nvSpPr>
          <p:spPr>
            <a:xfrm>
              <a:off x="1088625" y="2815075"/>
              <a:ext cx="88200" cy="84850"/>
            </a:xfrm>
            <a:custGeom>
              <a:avLst/>
              <a:gdLst/>
              <a:ahLst/>
              <a:cxnLst/>
              <a:rect l="l" t="t" r="r" b="b"/>
              <a:pathLst>
                <a:path w="3528" h="3394" extrusionOk="0">
                  <a:moveTo>
                    <a:pt x="1826" y="1132"/>
                  </a:moveTo>
                  <a:cubicBezTo>
                    <a:pt x="2115" y="1132"/>
                    <a:pt x="2393" y="1358"/>
                    <a:pt x="2395" y="1697"/>
                  </a:cubicBezTo>
                  <a:cubicBezTo>
                    <a:pt x="2395" y="2011"/>
                    <a:pt x="2141" y="2265"/>
                    <a:pt x="1827" y="2265"/>
                  </a:cubicBezTo>
                  <a:lnTo>
                    <a:pt x="1827" y="2262"/>
                  </a:lnTo>
                  <a:cubicBezTo>
                    <a:pt x="1326" y="2259"/>
                    <a:pt x="1075" y="1652"/>
                    <a:pt x="1432" y="1298"/>
                  </a:cubicBezTo>
                  <a:cubicBezTo>
                    <a:pt x="1547" y="1183"/>
                    <a:pt x="1688" y="1132"/>
                    <a:pt x="1826" y="1132"/>
                  </a:cubicBezTo>
                  <a:close/>
                  <a:moveTo>
                    <a:pt x="1827" y="0"/>
                  </a:moveTo>
                  <a:cubicBezTo>
                    <a:pt x="1142" y="0"/>
                    <a:pt x="523" y="414"/>
                    <a:pt x="260" y="1048"/>
                  </a:cubicBezTo>
                  <a:cubicBezTo>
                    <a:pt x="0" y="1682"/>
                    <a:pt x="145" y="2413"/>
                    <a:pt x="632" y="2899"/>
                  </a:cubicBezTo>
                  <a:cubicBezTo>
                    <a:pt x="954" y="3222"/>
                    <a:pt x="1388" y="3393"/>
                    <a:pt x="1829" y="3393"/>
                  </a:cubicBezTo>
                  <a:cubicBezTo>
                    <a:pt x="2048" y="3393"/>
                    <a:pt x="2269" y="3351"/>
                    <a:pt x="2479" y="3264"/>
                  </a:cubicBezTo>
                  <a:cubicBezTo>
                    <a:pt x="3114" y="3001"/>
                    <a:pt x="3524" y="2382"/>
                    <a:pt x="3527" y="1697"/>
                  </a:cubicBezTo>
                  <a:cubicBezTo>
                    <a:pt x="3524" y="761"/>
                    <a:pt x="2763" y="0"/>
                    <a:pt x="182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grpSp>
      <p:sp>
        <p:nvSpPr>
          <p:cNvPr id="49" name="Text Placeholder 3">
            <a:extLst>
              <a:ext uri="{FF2B5EF4-FFF2-40B4-BE49-F238E27FC236}">
                <a16:creationId xmlns:a16="http://schemas.microsoft.com/office/drawing/2014/main" id="{32F4BCA1-7CE8-4E27-9636-3D888CCB0345}"/>
              </a:ext>
            </a:extLst>
          </p:cNvPr>
          <p:cNvSpPr txBox="1">
            <a:spLocks/>
          </p:cNvSpPr>
          <p:nvPr/>
        </p:nvSpPr>
        <p:spPr>
          <a:xfrm>
            <a:off x="549900" y="5945134"/>
            <a:ext cx="11403623" cy="433754"/>
          </a:xfrm>
          <a:prstGeom prst="rect">
            <a:avLst/>
          </a:prstGeom>
        </p:spPr>
        <p:txBody>
          <a:bodyPr vert="horz" lIns="0" tIns="0" rIns="0" bIns="0" rtlCol="0">
            <a:noAutofit/>
          </a:bodyPr>
          <a:lstStyle>
            <a:lvl1pPr marL="104775" marR="0" indent="-104775" algn="l" defTabSz="685800" rtl="0" eaLnBrk="1" fontAlgn="auto" latinLnBrk="0" hangingPunct="1">
              <a:lnSpc>
                <a:spcPct val="100000"/>
              </a:lnSpc>
              <a:spcBef>
                <a:spcPts val="0"/>
              </a:spcBef>
              <a:spcAft>
                <a:spcPts val="675"/>
              </a:spcAft>
              <a:buClr>
                <a:schemeClr val="accent2"/>
              </a:buClr>
              <a:buSzTx/>
              <a:buFont typeface="Arial" panose="020B0604020202020204" pitchFamily="34" charset="0"/>
              <a:buChar char="•"/>
              <a:tabLst/>
              <a:defRPr sz="16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baseline="0">
                <a:solidFill>
                  <a:schemeClr val="tx1"/>
                </a:solidFill>
                <a:latin typeface="e-Ukraine UltraLight" panose="00000500000000000000" pitchFamily="2"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pPr marL="0" indent="0">
              <a:buNone/>
            </a:pPr>
            <a:r>
              <a:rPr lang="uk-UA" sz="1800" dirty="0"/>
              <a:t>Реалізація </a:t>
            </a:r>
            <a:r>
              <a:rPr lang="uk-UA" sz="1800" dirty="0" smtClean="0"/>
              <a:t>Стратегії </a:t>
            </a:r>
            <a:r>
              <a:rPr lang="uk-UA" sz="1800" dirty="0"/>
              <a:t>здійснюється шляхом досягнення </a:t>
            </a:r>
            <a:r>
              <a:rPr lang="uk-UA" sz="2000" b="1" dirty="0">
                <a:solidFill>
                  <a:srgbClr val="0091D7"/>
                </a:solidFill>
              </a:rPr>
              <a:t>2 </a:t>
            </a:r>
            <a:r>
              <a:rPr lang="ru-RU" sz="2000" b="1" dirty="0">
                <a:solidFill>
                  <a:srgbClr val="0091D7"/>
                </a:solidFill>
              </a:rPr>
              <a:t>стратегічних цілей</a:t>
            </a:r>
            <a:r>
              <a:rPr lang="ru-RU" sz="1800" dirty="0"/>
              <a:t>:</a:t>
            </a:r>
            <a:endParaRPr lang="en-US" sz="1800" dirty="0"/>
          </a:p>
        </p:txBody>
      </p:sp>
    </p:spTree>
    <p:extLst>
      <p:ext uri="{BB962C8B-B14F-4D97-AF65-F5344CB8AC3E}">
        <p14:creationId xmlns:p14="http://schemas.microsoft.com/office/powerpoint/2010/main" val="3314335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4232"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6" name="Slide Number Placeholder 8">
            <a:extLst>
              <a:ext uri="{FF2B5EF4-FFF2-40B4-BE49-F238E27FC236}">
                <a16:creationId xmlns:a16="http://schemas.microsoft.com/office/drawing/2014/main" id="{F826F3EF-F85B-4379-8C1D-D9F72D821C9E}"/>
              </a:ext>
            </a:extLst>
          </p:cNvPr>
          <p:cNvSpPr>
            <a:spLocks noGrp="1"/>
          </p:cNvSpPr>
          <p:nvPr>
            <p:ph type="sldNum" sz="quarter" idx="4"/>
          </p:nvPr>
        </p:nvSpPr>
        <p:spPr>
          <a:xfrm>
            <a:off x="11533188" y="6411692"/>
            <a:ext cx="473946" cy="381598"/>
          </a:xfrm>
        </p:spPr>
        <p:txBody>
          <a:bodyPr/>
          <a:lstStyle>
            <a:lvl1pPr algn="r">
              <a:defRPr sz="1000">
                <a:latin typeface="e-Ukraine UltraLight" panose="00000500000000000000" pitchFamily="2" charset="0"/>
              </a:defRPr>
            </a:lvl1pPr>
          </a:lstStyle>
          <a:p>
            <a:fld id="{6BEF9EAC-A834-4079-97F3-DDD7E59C4475}" type="slidenum">
              <a:rPr lang="uk-UA" smtClean="0"/>
              <a:pPr/>
              <a:t>2</a:t>
            </a:fld>
            <a:endParaRPr lang="uk-UA" dirty="0"/>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dirty="0"/>
              <a:t>Європейська </a:t>
            </a:r>
            <a:r>
              <a:rPr lang="uk-UA" dirty="0" smtClean="0"/>
              <a:t>інтеграція</a:t>
            </a:r>
            <a:endParaRPr lang="en-US" dirty="0"/>
          </a:p>
        </p:txBody>
      </p:sp>
      <p:sp>
        <p:nvSpPr>
          <p:cNvPr id="4" name="Місце для тексту 3"/>
          <p:cNvSpPr>
            <a:spLocks noGrp="1"/>
          </p:cNvSpPr>
          <p:nvPr>
            <p:ph type="body" sz="quarter" idx="10"/>
          </p:nvPr>
        </p:nvSpPr>
        <p:spPr>
          <a:xfrm>
            <a:off x="3028948" y="2152837"/>
            <a:ext cx="5642342" cy="375138"/>
          </a:xfrm>
        </p:spPr>
        <p:txBody>
          <a:bodyPr/>
          <a:lstStyle/>
          <a:p>
            <a:pPr algn="ctr"/>
            <a:r>
              <a:rPr lang="uk-UA" dirty="0" smtClean="0">
                <a:solidFill>
                  <a:srgbClr val="0091D7"/>
                </a:solidFill>
                <a:latin typeface="+mj-lt"/>
              </a:rPr>
              <a:t>Фактори успішної інтеграції: </a:t>
            </a:r>
          </a:p>
        </p:txBody>
      </p:sp>
      <p:sp>
        <p:nvSpPr>
          <p:cNvPr id="8" name="Місце для тексту 3"/>
          <p:cNvSpPr txBox="1">
            <a:spLocks/>
          </p:cNvSpPr>
          <p:nvPr/>
        </p:nvSpPr>
        <p:spPr>
          <a:xfrm>
            <a:off x="899745" y="1337009"/>
            <a:ext cx="10715503" cy="738555"/>
          </a:xfrm>
          <a:prstGeom prst="rect">
            <a:avLst/>
          </a:prstGeom>
        </p:spPr>
        <p:txBody>
          <a:bodyPr vert="horz" lIns="0" tIns="0" rIns="0" bIns="0" rtlCol="0">
            <a:noAutofit/>
          </a:bodyPr>
          <a:lstStyle>
            <a:lvl1pPr marL="0" marR="0" indent="0" algn="l" defTabSz="685800" rtl="0" eaLnBrk="1" fontAlgn="auto" latinLnBrk="0" hangingPunct="1">
              <a:lnSpc>
                <a:spcPct val="100000"/>
              </a:lnSpc>
              <a:spcBef>
                <a:spcPts val="0"/>
              </a:spcBef>
              <a:spcAft>
                <a:spcPts val="900"/>
              </a:spcAft>
              <a:buClr>
                <a:schemeClr val="tx1"/>
              </a:buClr>
              <a:buSzTx/>
              <a:buFont typeface="Arial" panose="020B0604020202020204" pitchFamily="34" charset="0"/>
              <a:buNone/>
              <a:tabLst/>
              <a:defRPr sz="1600" kern="1200">
                <a:solidFill>
                  <a:schemeClr val="tx1"/>
                </a:solidFill>
                <a:latin typeface="+mn-lt"/>
                <a:ea typeface="+mn-ea"/>
                <a:cs typeface="+mn-cs"/>
              </a:defRPr>
            </a:lvl1pPr>
            <a:lvl2pPr marL="204788" indent="-204788" algn="l" defTabSz="685800" rtl="0" eaLnBrk="1" latinLnBrk="0" hangingPunct="1">
              <a:lnSpc>
                <a:spcPct val="100000"/>
              </a:lnSpc>
              <a:spcBef>
                <a:spcPts val="0"/>
              </a:spcBef>
              <a:spcAft>
                <a:spcPts val="675"/>
              </a:spcAft>
              <a:buClr>
                <a:schemeClr val="accent2"/>
              </a:buClr>
              <a:buFont typeface="e-Ukraine UltraLight" pitchFamily="18" charset="0"/>
              <a:buChar char="•"/>
              <a:defRPr sz="1600" kern="1200">
                <a:solidFill>
                  <a:schemeClr val="tx1"/>
                </a:solidFill>
                <a:latin typeface="+mn-lt"/>
                <a:ea typeface="+mn-ea"/>
                <a:cs typeface="+mn-cs"/>
              </a:defRPr>
            </a:lvl2pPr>
            <a:lvl3pPr marL="204788" indent="-204788" algn="l" defTabSz="685800" rtl="0" eaLnBrk="1" latinLnBrk="0" hangingPunct="1">
              <a:lnSpc>
                <a:spcPct val="100000"/>
              </a:lnSpc>
              <a:spcBef>
                <a:spcPts val="0"/>
              </a:spcBef>
              <a:spcAft>
                <a:spcPts val="675"/>
              </a:spcAft>
              <a:buClr>
                <a:schemeClr val="accent2"/>
              </a:buClr>
              <a:buFont typeface="Arial" panose="020B0604020202020204" pitchFamily="34" charset="0"/>
              <a:buChar char="•"/>
              <a:defRPr sz="1600" kern="1200">
                <a:solidFill>
                  <a:schemeClr val="tx1"/>
                </a:solidFill>
                <a:latin typeface="+mn-lt"/>
                <a:ea typeface="+mn-ea"/>
                <a:cs typeface="+mn-cs"/>
              </a:defRPr>
            </a:lvl3pPr>
            <a:lvl4pPr marL="204788" indent="-204788" algn="l" defTabSz="685800" rtl="0" eaLnBrk="1" latinLnBrk="0" hangingPunct="1">
              <a:lnSpc>
                <a:spcPct val="100000"/>
              </a:lnSpc>
              <a:spcBef>
                <a:spcPts val="0"/>
              </a:spcBef>
              <a:spcAft>
                <a:spcPts val="675"/>
              </a:spcAft>
              <a:buClr>
                <a:schemeClr val="accent2"/>
              </a:buClr>
              <a:buFont typeface="e-Ukraine UltraLight" pitchFamily="18" charset="0"/>
              <a:buChar char="◦"/>
              <a:defRPr sz="1600" kern="1200">
                <a:solidFill>
                  <a:schemeClr val="tx1"/>
                </a:solidFill>
                <a:latin typeface="+mn-lt"/>
                <a:ea typeface="+mn-ea"/>
                <a:cs typeface="+mn-cs"/>
              </a:defRPr>
            </a:lvl4pPr>
            <a:lvl5pPr marL="204788" indent="-204788" algn="l" defTabSz="685800" rtl="0" eaLnBrk="1" latinLnBrk="0" hangingPunct="1">
              <a:lnSpc>
                <a:spcPct val="100000"/>
              </a:lnSpc>
              <a:spcBef>
                <a:spcPts val="0"/>
              </a:spcBef>
              <a:spcAft>
                <a:spcPts val="675"/>
              </a:spcAft>
              <a:buClr>
                <a:schemeClr val="tx1"/>
              </a:buClr>
              <a:buFont typeface="e-Ukraine UltraLight" pitchFamily="18" charset="0"/>
              <a:buChar char="›"/>
              <a:defRPr sz="1600" kern="1200" baseline="0">
                <a:solidFill>
                  <a:schemeClr val="tx1"/>
                </a:solidFill>
                <a:latin typeface="+mn-lt"/>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pPr algn="ctr"/>
            <a:r>
              <a:rPr lang="uk-UA" dirty="0" smtClean="0"/>
              <a:t>Європейська інтеграція – це процес політичної, юридичної, економічної інтеграції європейських держав, у тому числі й частково розташованих в Європі </a:t>
            </a:r>
          </a:p>
        </p:txBody>
      </p:sp>
      <p:grpSp>
        <p:nvGrpSpPr>
          <p:cNvPr id="9" name="Group 3">
            <a:extLst>
              <a:ext uri="{FF2B5EF4-FFF2-40B4-BE49-F238E27FC236}">
                <a16:creationId xmlns:a16="http://schemas.microsoft.com/office/drawing/2014/main" id="{6843F7DE-1EA2-4F0F-AA19-AC2657C3B148}"/>
              </a:ext>
            </a:extLst>
          </p:cNvPr>
          <p:cNvGrpSpPr/>
          <p:nvPr/>
        </p:nvGrpSpPr>
        <p:grpSpPr>
          <a:xfrm>
            <a:off x="564580" y="2621269"/>
            <a:ext cx="2319017" cy="1941726"/>
            <a:chOff x="731837" y="1665288"/>
            <a:chExt cx="2319017" cy="1941726"/>
          </a:xfrm>
        </p:grpSpPr>
        <p:sp>
          <p:nvSpPr>
            <p:cNvPr id="10" name="Rounded Rectangle">
              <a:extLst>
                <a:ext uri="{FF2B5EF4-FFF2-40B4-BE49-F238E27FC236}">
                  <a16:creationId xmlns:a16="http://schemas.microsoft.com/office/drawing/2014/main" id="{B05C80C5-CA43-4FB7-87CB-937091D8CE8B}"/>
                </a:ext>
              </a:extLst>
            </p:cNvPr>
            <p:cNvSpPr/>
            <p:nvPr/>
          </p:nvSpPr>
          <p:spPr>
            <a:xfrm>
              <a:off x="731837" y="2023014"/>
              <a:ext cx="2319017" cy="1584000"/>
            </a:xfrm>
            <a:prstGeom prst="roundRect">
              <a:avLst>
                <a:gd name="adj" fmla="val 10295"/>
              </a:avLst>
            </a:prstGeom>
            <a:noFill/>
            <a:ln w="38100">
              <a:solidFill>
                <a:schemeClr val="bg2">
                  <a:lumMod val="85000"/>
                </a:schemeClr>
              </a:solidFill>
              <a:miter lim="400000"/>
            </a:ln>
          </p:spPr>
          <p:txBody>
            <a:bodyPr lIns="71437" tIns="71437" rIns="71437" bIns="71437" anchor="ctr"/>
            <a:lstStyle/>
            <a:p>
              <a:pPr algn="ctr">
                <a:defRPr sz="3000" b="0">
                  <a:solidFill>
                    <a:srgbClr val="FFFFFF"/>
                  </a:solidFill>
                  <a:latin typeface="+mn-lt"/>
                  <a:ea typeface="+mn-ea"/>
                  <a:cs typeface="+mn-cs"/>
                  <a:sym typeface="e-Ukraine UltraLight"/>
                </a:defRPr>
              </a:pPr>
              <a:r>
                <a:rPr lang="uk-UA" sz="1600" dirty="0">
                  <a:solidFill>
                    <a:schemeClr val="tx2"/>
                  </a:solidFill>
                </a:rPr>
                <a:t>Верховенство права </a:t>
              </a:r>
            </a:p>
          </p:txBody>
        </p:sp>
        <p:sp>
          <p:nvSpPr>
            <p:cNvPr id="11" name="Oval 49">
              <a:extLst>
                <a:ext uri="{FF2B5EF4-FFF2-40B4-BE49-F238E27FC236}">
                  <a16:creationId xmlns:a16="http://schemas.microsoft.com/office/drawing/2014/main" id="{7D263946-7826-433A-A889-4A4E4DD2B095}"/>
                </a:ext>
              </a:extLst>
            </p:cNvPr>
            <p:cNvSpPr/>
            <p:nvPr/>
          </p:nvSpPr>
          <p:spPr bwMode="ltGray">
            <a:xfrm>
              <a:off x="1509453" y="1665288"/>
              <a:ext cx="720000" cy="7200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50" charset="0"/>
              </a:endParaRPr>
            </a:p>
          </p:txBody>
        </p:sp>
        <p:grpSp>
          <p:nvGrpSpPr>
            <p:cNvPr id="12" name="Group 79">
              <a:extLst>
                <a:ext uri="{FF2B5EF4-FFF2-40B4-BE49-F238E27FC236}">
                  <a16:creationId xmlns:a16="http://schemas.microsoft.com/office/drawing/2014/main" id="{AEDC94B0-2360-40C7-8D4D-7EA99DA35728}"/>
                </a:ext>
              </a:extLst>
            </p:cNvPr>
            <p:cNvGrpSpPr/>
            <p:nvPr/>
          </p:nvGrpSpPr>
          <p:grpSpPr>
            <a:xfrm>
              <a:off x="1615074" y="1775920"/>
              <a:ext cx="508757" cy="508718"/>
              <a:chOff x="695324" y="1799454"/>
              <a:chExt cx="508757" cy="508718"/>
            </a:xfrm>
            <a:solidFill>
              <a:schemeClr val="tx1"/>
            </a:solidFill>
          </p:grpSpPr>
          <p:sp>
            <p:nvSpPr>
              <p:cNvPr id="13" name="Google Shape;5330;p54">
                <a:extLst>
                  <a:ext uri="{FF2B5EF4-FFF2-40B4-BE49-F238E27FC236}">
                    <a16:creationId xmlns:a16="http://schemas.microsoft.com/office/drawing/2014/main" id="{C030F81B-8AD4-46B8-A0C8-00C022A8CF6C}"/>
                  </a:ext>
                </a:extLst>
              </p:cNvPr>
              <p:cNvSpPr/>
              <p:nvPr/>
            </p:nvSpPr>
            <p:spPr>
              <a:xfrm>
                <a:off x="695324" y="1799454"/>
                <a:ext cx="508757" cy="508718"/>
              </a:xfrm>
              <a:custGeom>
                <a:avLst/>
                <a:gdLst/>
                <a:ahLst/>
                <a:cxnLst/>
                <a:rect l="l" t="t" r="r" b="b"/>
                <a:pathLst>
                  <a:path w="12666" h="12665" extrusionOk="0">
                    <a:moveTo>
                      <a:pt x="6333" y="819"/>
                    </a:moveTo>
                    <a:cubicBezTo>
                      <a:pt x="9357" y="819"/>
                      <a:pt x="11846" y="3308"/>
                      <a:pt x="11846" y="6332"/>
                    </a:cubicBezTo>
                    <a:cubicBezTo>
                      <a:pt x="11846" y="9357"/>
                      <a:pt x="9357" y="11846"/>
                      <a:pt x="6333" y="11846"/>
                    </a:cubicBezTo>
                    <a:cubicBezTo>
                      <a:pt x="3308" y="11846"/>
                      <a:pt x="819" y="9357"/>
                      <a:pt x="819" y="6332"/>
                    </a:cubicBezTo>
                    <a:cubicBezTo>
                      <a:pt x="819" y="3308"/>
                      <a:pt x="3308" y="819"/>
                      <a:pt x="6333" y="819"/>
                    </a:cubicBezTo>
                    <a:close/>
                    <a:moveTo>
                      <a:pt x="6333" y="0"/>
                    </a:moveTo>
                    <a:cubicBezTo>
                      <a:pt x="2836" y="0"/>
                      <a:pt x="0" y="2835"/>
                      <a:pt x="0" y="6332"/>
                    </a:cubicBezTo>
                    <a:cubicBezTo>
                      <a:pt x="0" y="9830"/>
                      <a:pt x="2836" y="12665"/>
                      <a:pt x="6333" y="12665"/>
                    </a:cubicBezTo>
                    <a:cubicBezTo>
                      <a:pt x="9830" y="12665"/>
                      <a:pt x="12665" y="9830"/>
                      <a:pt x="12665" y="6332"/>
                    </a:cubicBezTo>
                    <a:cubicBezTo>
                      <a:pt x="12665" y="2835"/>
                      <a:pt x="9830" y="0"/>
                      <a:pt x="633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4" name="Graphic 81">
                <a:extLst>
                  <a:ext uri="{FF2B5EF4-FFF2-40B4-BE49-F238E27FC236}">
                    <a16:creationId xmlns:a16="http://schemas.microsoft.com/office/drawing/2014/main" id="{031B5919-A980-491B-813E-1DDE4E1D6C4C}"/>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873217" y="1923688"/>
                <a:ext cx="167265" cy="245062"/>
              </a:xfrm>
              <a:prstGeom prst="rect">
                <a:avLst/>
              </a:prstGeom>
            </p:spPr>
          </p:pic>
        </p:grpSp>
      </p:grpSp>
      <p:grpSp>
        <p:nvGrpSpPr>
          <p:cNvPr id="15" name="Group 5">
            <a:extLst>
              <a:ext uri="{FF2B5EF4-FFF2-40B4-BE49-F238E27FC236}">
                <a16:creationId xmlns:a16="http://schemas.microsoft.com/office/drawing/2014/main" id="{F3C6BE77-7726-4594-8808-CB7CEC8D4559}"/>
              </a:ext>
            </a:extLst>
          </p:cNvPr>
          <p:cNvGrpSpPr/>
          <p:nvPr/>
        </p:nvGrpSpPr>
        <p:grpSpPr>
          <a:xfrm>
            <a:off x="8983870" y="2641150"/>
            <a:ext cx="2319017" cy="1941726"/>
            <a:chOff x="6432921" y="1665288"/>
            <a:chExt cx="2319017" cy="1941726"/>
          </a:xfrm>
        </p:grpSpPr>
        <p:sp>
          <p:nvSpPr>
            <p:cNvPr id="16" name="Rounded Rectangle">
              <a:extLst>
                <a:ext uri="{FF2B5EF4-FFF2-40B4-BE49-F238E27FC236}">
                  <a16:creationId xmlns:a16="http://schemas.microsoft.com/office/drawing/2014/main" id="{59F55A77-4468-4B67-90C8-B49F4D52A2FA}"/>
                </a:ext>
              </a:extLst>
            </p:cNvPr>
            <p:cNvSpPr/>
            <p:nvPr/>
          </p:nvSpPr>
          <p:spPr>
            <a:xfrm>
              <a:off x="6432921" y="2023014"/>
              <a:ext cx="2319017" cy="1584000"/>
            </a:xfrm>
            <a:prstGeom prst="roundRect">
              <a:avLst>
                <a:gd name="adj" fmla="val 10295"/>
              </a:avLst>
            </a:prstGeom>
            <a:noFill/>
            <a:ln w="38100">
              <a:solidFill>
                <a:schemeClr val="bg2">
                  <a:lumMod val="85000"/>
                </a:schemeClr>
              </a:solidFill>
              <a:miter lim="400000"/>
            </a:ln>
          </p:spPr>
          <p:txBody>
            <a:bodyPr lIns="71437" tIns="71437" rIns="71437" bIns="71437" anchor="ctr"/>
            <a:lstStyle/>
            <a:p>
              <a:pPr algn="ctr">
                <a:defRPr sz="3000" b="0">
                  <a:solidFill>
                    <a:srgbClr val="FFFFFF"/>
                  </a:solidFill>
                  <a:latin typeface="+mn-lt"/>
                  <a:ea typeface="+mn-ea"/>
                  <a:cs typeface="+mn-cs"/>
                  <a:sym typeface="e-Ukraine UltraLight"/>
                </a:defRPr>
              </a:pPr>
              <a:r>
                <a:rPr lang="uk-UA" sz="1600" dirty="0">
                  <a:solidFill>
                    <a:schemeClr val="tx2"/>
                  </a:solidFill>
                </a:rPr>
                <a:t>Економічна свобода</a:t>
              </a:r>
            </a:p>
          </p:txBody>
        </p:sp>
        <p:sp>
          <p:nvSpPr>
            <p:cNvPr id="17" name="Oval 49">
              <a:extLst>
                <a:ext uri="{FF2B5EF4-FFF2-40B4-BE49-F238E27FC236}">
                  <a16:creationId xmlns:a16="http://schemas.microsoft.com/office/drawing/2014/main" id="{49F32183-834E-4B3D-9486-82DAEA74EA42}"/>
                </a:ext>
              </a:extLst>
            </p:cNvPr>
            <p:cNvSpPr/>
            <p:nvPr/>
          </p:nvSpPr>
          <p:spPr bwMode="ltGray">
            <a:xfrm>
              <a:off x="7210537" y="1665288"/>
              <a:ext cx="720000" cy="7200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50" charset="0"/>
              </a:endParaRPr>
            </a:p>
          </p:txBody>
        </p:sp>
        <p:grpSp>
          <p:nvGrpSpPr>
            <p:cNvPr id="18" name="Google Shape;5370;p54">
              <a:extLst>
                <a:ext uri="{FF2B5EF4-FFF2-40B4-BE49-F238E27FC236}">
                  <a16:creationId xmlns:a16="http://schemas.microsoft.com/office/drawing/2014/main" id="{2BE44526-ACFD-4ACD-89C8-7CC68831BF65}"/>
                </a:ext>
              </a:extLst>
            </p:cNvPr>
            <p:cNvGrpSpPr/>
            <p:nvPr/>
          </p:nvGrpSpPr>
          <p:grpSpPr>
            <a:xfrm>
              <a:off x="7341801" y="1840570"/>
              <a:ext cx="459250" cy="364230"/>
              <a:chOff x="-62882850" y="1999375"/>
              <a:chExt cx="315850" cy="250500"/>
            </a:xfrm>
            <a:solidFill>
              <a:schemeClr val="tx2"/>
            </a:solidFill>
          </p:grpSpPr>
          <p:sp>
            <p:nvSpPr>
              <p:cNvPr id="19" name="Google Shape;5371;p54">
                <a:extLst>
                  <a:ext uri="{FF2B5EF4-FFF2-40B4-BE49-F238E27FC236}">
                    <a16:creationId xmlns:a16="http://schemas.microsoft.com/office/drawing/2014/main" id="{73AF3F83-E6A3-46F9-94F0-E2EE44565F80}"/>
                  </a:ext>
                </a:extLst>
              </p:cNvPr>
              <p:cNvSpPr/>
              <p:nvPr/>
            </p:nvSpPr>
            <p:spPr>
              <a:xfrm>
                <a:off x="-62882850" y="1999375"/>
                <a:ext cx="315850" cy="250500"/>
              </a:xfrm>
              <a:custGeom>
                <a:avLst/>
                <a:gdLst/>
                <a:ahLst/>
                <a:cxnLst/>
                <a:rect l="l" t="t" r="r" b="b"/>
                <a:pathLst>
                  <a:path w="12634" h="10020" extrusionOk="0">
                    <a:moveTo>
                      <a:pt x="10586" y="851"/>
                    </a:moveTo>
                    <a:cubicBezTo>
                      <a:pt x="10838" y="851"/>
                      <a:pt x="11027" y="1040"/>
                      <a:pt x="11027" y="1261"/>
                    </a:cubicBezTo>
                    <a:lnTo>
                      <a:pt x="11027" y="7499"/>
                    </a:lnTo>
                    <a:lnTo>
                      <a:pt x="1638" y="7499"/>
                    </a:lnTo>
                    <a:lnTo>
                      <a:pt x="1638" y="1261"/>
                    </a:lnTo>
                    <a:lnTo>
                      <a:pt x="1607" y="1261"/>
                    </a:lnTo>
                    <a:cubicBezTo>
                      <a:pt x="1607" y="1040"/>
                      <a:pt x="1796" y="851"/>
                      <a:pt x="2048" y="851"/>
                    </a:cubicBezTo>
                    <a:close/>
                    <a:moveTo>
                      <a:pt x="11814" y="8318"/>
                    </a:moveTo>
                    <a:lnTo>
                      <a:pt x="11814" y="8727"/>
                    </a:lnTo>
                    <a:cubicBezTo>
                      <a:pt x="11814" y="8948"/>
                      <a:pt x="11594" y="9137"/>
                      <a:pt x="11405" y="9137"/>
                    </a:cubicBezTo>
                    <a:lnTo>
                      <a:pt x="1197" y="9137"/>
                    </a:lnTo>
                    <a:cubicBezTo>
                      <a:pt x="977" y="9137"/>
                      <a:pt x="788" y="8948"/>
                      <a:pt x="788" y="8727"/>
                    </a:cubicBezTo>
                    <a:lnTo>
                      <a:pt x="788" y="8318"/>
                    </a:lnTo>
                    <a:close/>
                    <a:moveTo>
                      <a:pt x="2048" y="1"/>
                    </a:moveTo>
                    <a:cubicBezTo>
                      <a:pt x="1355" y="1"/>
                      <a:pt x="788" y="568"/>
                      <a:pt x="788" y="1261"/>
                    </a:cubicBezTo>
                    <a:lnTo>
                      <a:pt x="788" y="7499"/>
                    </a:lnTo>
                    <a:lnTo>
                      <a:pt x="378" y="7499"/>
                    </a:lnTo>
                    <a:cubicBezTo>
                      <a:pt x="158" y="7499"/>
                      <a:pt x="0" y="7688"/>
                      <a:pt x="0" y="7940"/>
                    </a:cubicBezTo>
                    <a:lnTo>
                      <a:pt x="0" y="8759"/>
                    </a:lnTo>
                    <a:cubicBezTo>
                      <a:pt x="0" y="9420"/>
                      <a:pt x="536" y="10019"/>
                      <a:pt x="1197" y="10019"/>
                    </a:cubicBezTo>
                    <a:lnTo>
                      <a:pt x="11405" y="10019"/>
                    </a:lnTo>
                    <a:cubicBezTo>
                      <a:pt x="12066" y="10019"/>
                      <a:pt x="12634" y="9452"/>
                      <a:pt x="12634" y="8759"/>
                    </a:cubicBezTo>
                    <a:lnTo>
                      <a:pt x="12634" y="7940"/>
                    </a:lnTo>
                    <a:cubicBezTo>
                      <a:pt x="12634" y="7656"/>
                      <a:pt x="12444" y="7499"/>
                      <a:pt x="12224" y="7499"/>
                    </a:cubicBezTo>
                    <a:lnTo>
                      <a:pt x="11814" y="7499"/>
                    </a:lnTo>
                    <a:lnTo>
                      <a:pt x="11814" y="1261"/>
                    </a:lnTo>
                    <a:cubicBezTo>
                      <a:pt x="11814" y="599"/>
                      <a:pt x="11247" y="1"/>
                      <a:pt x="1058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Google Shape;5372;p54">
                <a:extLst>
                  <a:ext uri="{FF2B5EF4-FFF2-40B4-BE49-F238E27FC236}">
                    <a16:creationId xmlns:a16="http://schemas.microsoft.com/office/drawing/2014/main" id="{16EDEB19-91FD-4ECB-B92A-87DFD324CA5C}"/>
                  </a:ext>
                </a:extLst>
              </p:cNvPr>
              <p:cNvSpPr/>
              <p:nvPr/>
            </p:nvSpPr>
            <p:spPr>
              <a:xfrm>
                <a:off x="-62806475" y="2062375"/>
                <a:ext cx="146525" cy="103800"/>
              </a:xfrm>
              <a:custGeom>
                <a:avLst/>
                <a:gdLst/>
                <a:ahLst/>
                <a:cxnLst/>
                <a:rect l="l" t="t" r="r" b="b"/>
                <a:pathLst>
                  <a:path w="5861" h="4152" extrusionOk="0">
                    <a:moveTo>
                      <a:pt x="3782" y="1"/>
                    </a:moveTo>
                    <a:cubicBezTo>
                      <a:pt x="3561" y="1"/>
                      <a:pt x="3341" y="221"/>
                      <a:pt x="3341" y="410"/>
                    </a:cubicBezTo>
                    <a:cubicBezTo>
                      <a:pt x="3341" y="631"/>
                      <a:pt x="3561" y="852"/>
                      <a:pt x="3782" y="852"/>
                    </a:cubicBezTo>
                    <a:lnTo>
                      <a:pt x="4443" y="852"/>
                    </a:lnTo>
                    <a:lnTo>
                      <a:pt x="2962" y="2332"/>
                    </a:lnTo>
                    <a:lnTo>
                      <a:pt x="2395" y="1765"/>
                    </a:lnTo>
                    <a:cubicBezTo>
                      <a:pt x="2332" y="1686"/>
                      <a:pt x="2230" y="1647"/>
                      <a:pt x="2124" y="1647"/>
                    </a:cubicBezTo>
                    <a:cubicBezTo>
                      <a:pt x="2017" y="1647"/>
                      <a:pt x="1907" y="1686"/>
                      <a:pt x="1828" y="1765"/>
                    </a:cubicBezTo>
                    <a:lnTo>
                      <a:pt x="159" y="3435"/>
                    </a:lnTo>
                    <a:cubicBezTo>
                      <a:pt x="1" y="3592"/>
                      <a:pt x="1" y="3876"/>
                      <a:pt x="159" y="4034"/>
                    </a:cubicBezTo>
                    <a:cubicBezTo>
                      <a:pt x="237" y="4112"/>
                      <a:pt x="348" y="4152"/>
                      <a:pt x="458" y="4152"/>
                    </a:cubicBezTo>
                    <a:cubicBezTo>
                      <a:pt x="568" y="4152"/>
                      <a:pt x="678" y="4112"/>
                      <a:pt x="757" y="4034"/>
                    </a:cubicBezTo>
                    <a:lnTo>
                      <a:pt x="2143" y="2647"/>
                    </a:lnTo>
                    <a:lnTo>
                      <a:pt x="2679" y="3183"/>
                    </a:lnTo>
                    <a:cubicBezTo>
                      <a:pt x="2758" y="3262"/>
                      <a:pt x="2868" y="3301"/>
                      <a:pt x="2978" y="3301"/>
                    </a:cubicBezTo>
                    <a:cubicBezTo>
                      <a:pt x="3088" y="3301"/>
                      <a:pt x="3199" y="3262"/>
                      <a:pt x="3278" y="3183"/>
                    </a:cubicBezTo>
                    <a:lnTo>
                      <a:pt x="5042" y="1419"/>
                    </a:lnTo>
                    <a:lnTo>
                      <a:pt x="5042" y="2080"/>
                    </a:lnTo>
                    <a:cubicBezTo>
                      <a:pt x="5042" y="2332"/>
                      <a:pt x="5231" y="2521"/>
                      <a:pt x="5451" y="2521"/>
                    </a:cubicBezTo>
                    <a:cubicBezTo>
                      <a:pt x="5640" y="2521"/>
                      <a:pt x="5861" y="2332"/>
                      <a:pt x="5861" y="2080"/>
                    </a:cubicBezTo>
                    <a:lnTo>
                      <a:pt x="5861" y="442"/>
                    </a:lnTo>
                    <a:cubicBezTo>
                      <a:pt x="5861" y="158"/>
                      <a:pt x="5672" y="1"/>
                      <a:pt x="545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grpSp>
        <p:nvGrpSpPr>
          <p:cNvPr id="21" name="Group 6">
            <a:extLst>
              <a:ext uri="{FF2B5EF4-FFF2-40B4-BE49-F238E27FC236}">
                <a16:creationId xmlns:a16="http://schemas.microsoft.com/office/drawing/2014/main" id="{3739709D-D867-4B4F-81FA-BBDCED2719F3}"/>
              </a:ext>
            </a:extLst>
          </p:cNvPr>
          <p:cNvGrpSpPr/>
          <p:nvPr/>
        </p:nvGrpSpPr>
        <p:grpSpPr>
          <a:xfrm>
            <a:off x="6664853" y="4470721"/>
            <a:ext cx="2319017" cy="1941726"/>
            <a:chOff x="9184931" y="1665288"/>
            <a:chExt cx="2319017" cy="1941726"/>
          </a:xfrm>
        </p:grpSpPr>
        <p:sp>
          <p:nvSpPr>
            <p:cNvPr id="22" name="Rounded Rectangle">
              <a:extLst>
                <a:ext uri="{FF2B5EF4-FFF2-40B4-BE49-F238E27FC236}">
                  <a16:creationId xmlns:a16="http://schemas.microsoft.com/office/drawing/2014/main" id="{6EAAC718-41C9-4988-AFFE-76A06B7ED0FC}"/>
                </a:ext>
              </a:extLst>
            </p:cNvPr>
            <p:cNvSpPr/>
            <p:nvPr/>
          </p:nvSpPr>
          <p:spPr>
            <a:xfrm>
              <a:off x="9184931" y="2023014"/>
              <a:ext cx="2319017" cy="1584000"/>
            </a:xfrm>
            <a:prstGeom prst="roundRect">
              <a:avLst>
                <a:gd name="adj" fmla="val 10295"/>
              </a:avLst>
            </a:prstGeom>
            <a:noFill/>
            <a:ln w="38100">
              <a:solidFill>
                <a:schemeClr val="bg2">
                  <a:lumMod val="85000"/>
                </a:schemeClr>
              </a:solidFill>
              <a:miter lim="400000"/>
            </a:ln>
          </p:spPr>
          <p:txBody>
            <a:bodyPr lIns="71437" tIns="71437" rIns="71437" bIns="71437" anchor="ctr"/>
            <a:lstStyle/>
            <a:p>
              <a:pPr algn="ctr">
                <a:defRPr sz="3000" b="0">
                  <a:solidFill>
                    <a:srgbClr val="FFFFFF"/>
                  </a:solidFill>
                  <a:latin typeface="+mn-lt"/>
                  <a:ea typeface="+mn-ea"/>
                  <a:cs typeface="+mn-cs"/>
                  <a:sym typeface="e-Ukraine UltraLight"/>
                </a:defRPr>
              </a:pPr>
              <a:r>
                <a:rPr lang="uk-UA" sz="1600" dirty="0">
                  <a:solidFill>
                    <a:schemeClr val="tx2"/>
                  </a:solidFill>
                </a:rPr>
                <a:t>Демократія</a:t>
              </a:r>
            </a:p>
          </p:txBody>
        </p:sp>
        <p:sp>
          <p:nvSpPr>
            <p:cNvPr id="23" name="Oval 49">
              <a:extLst>
                <a:ext uri="{FF2B5EF4-FFF2-40B4-BE49-F238E27FC236}">
                  <a16:creationId xmlns:a16="http://schemas.microsoft.com/office/drawing/2014/main" id="{7A922CE4-43F0-4D67-A231-A7AC2B34F328}"/>
                </a:ext>
              </a:extLst>
            </p:cNvPr>
            <p:cNvSpPr/>
            <p:nvPr/>
          </p:nvSpPr>
          <p:spPr bwMode="ltGray">
            <a:xfrm>
              <a:off x="9962547" y="1665288"/>
              <a:ext cx="720000" cy="7200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50" charset="0"/>
              </a:endParaRPr>
            </a:p>
          </p:txBody>
        </p:sp>
        <p:grpSp>
          <p:nvGrpSpPr>
            <p:cNvPr id="24" name="Google Shape;6892;p57">
              <a:extLst>
                <a:ext uri="{FF2B5EF4-FFF2-40B4-BE49-F238E27FC236}">
                  <a16:creationId xmlns:a16="http://schemas.microsoft.com/office/drawing/2014/main" id="{96B5EF7A-E77E-43B4-8F83-C8FD6746F3A9}"/>
                </a:ext>
              </a:extLst>
            </p:cNvPr>
            <p:cNvGrpSpPr/>
            <p:nvPr/>
          </p:nvGrpSpPr>
          <p:grpSpPr>
            <a:xfrm>
              <a:off x="10103232" y="1812617"/>
              <a:ext cx="444314" cy="434442"/>
              <a:chOff x="-42430625" y="1949750"/>
              <a:chExt cx="322950" cy="315775"/>
            </a:xfrm>
            <a:solidFill>
              <a:schemeClr val="tx2"/>
            </a:solidFill>
          </p:grpSpPr>
          <p:sp>
            <p:nvSpPr>
              <p:cNvPr id="25" name="Google Shape;6893;p57">
                <a:extLst>
                  <a:ext uri="{FF2B5EF4-FFF2-40B4-BE49-F238E27FC236}">
                    <a16:creationId xmlns:a16="http://schemas.microsoft.com/office/drawing/2014/main" id="{AAD120BC-8E86-45C5-BFE4-94D6E62B94AE}"/>
                  </a:ext>
                </a:extLst>
              </p:cNvPr>
              <p:cNvSpPr/>
              <p:nvPr/>
            </p:nvSpPr>
            <p:spPr>
              <a:xfrm>
                <a:off x="-423534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61" y="1639"/>
                      <a:pt x="1639" y="1293"/>
                      <a:pt x="1639" y="820"/>
                    </a:cubicBezTo>
                    <a:cubicBezTo>
                      <a:pt x="1639" y="379"/>
                      <a:pt x="1261" y="1"/>
                      <a:pt x="82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894;p57">
                <a:extLst>
                  <a:ext uri="{FF2B5EF4-FFF2-40B4-BE49-F238E27FC236}">
                    <a16:creationId xmlns:a16="http://schemas.microsoft.com/office/drawing/2014/main" id="{4073AF34-AEE0-478A-964E-67C20FF1B60E}"/>
                  </a:ext>
                </a:extLst>
              </p:cNvPr>
              <p:cNvSpPr/>
              <p:nvPr/>
            </p:nvSpPr>
            <p:spPr>
              <a:xfrm>
                <a:off x="-422896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92" y="1639"/>
                      <a:pt x="1639" y="1293"/>
                      <a:pt x="1639" y="820"/>
                    </a:cubicBezTo>
                    <a:cubicBezTo>
                      <a:pt x="1639" y="379"/>
                      <a:pt x="1292" y="1"/>
                      <a:pt x="82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895;p57">
                <a:extLst>
                  <a:ext uri="{FF2B5EF4-FFF2-40B4-BE49-F238E27FC236}">
                    <a16:creationId xmlns:a16="http://schemas.microsoft.com/office/drawing/2014/main" id="{73130F91-752E-4061-979D-332E1235D42B}"/>
                  </a:ext>
                </a:extLst>
              </p:cNvPr>
              <p:cNvSpPr/>
              <p:nvPr/>
            </p:nvSpPr>
            <p:spPr>
              <a:xfrm>
                <a:off x="-42226625" y="2065525"/>
                <a:ext cx="40975" cy="41000"/>
              </a:xfrm>
              <a:custGeom>
                <a:avLst/>
                <a:gdLst/>
                <a:ahLst/>
                <a:cxnLst/>
                <a:rect l="l" t="t" r="r" b="b"/>
                <a:pathLst>
                  <a:path w="1639" h="1640" extrusionOk="0">
                    <a:moveTo>
                      <a:pt x="819" y="1"/>
                    </a:moveTo>
                    <a:cubicBezTo>
                      <a:pt x="378" y="1"/>
                      <a:pt x="0" y="379"/>
                      <a:pt x="0" y="820"/>
                    </a:cubicBezTo>
                    <a:cubicBezTo>
                      <a:pt x="0" y="1293"/>
                      <a:pt x="378" y="1639"/>
                      <a:pt x="819" y="1639"/>
                    </a:cubicBezTo>
                    <a:cubicBezTo>
                      <a:pt x="1292" y="1639"/>
                      <a:pt x="1638" y="1293"/>
                      <a:pt x="1638" y="820"/>
                    </a:cubicBezTo>
                    <a:cubicBezTo>
                      <a:pt x="1638" y="379"/>
                      <a:pt x="1292" y="1"/>
                      <a:pt x="81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96;p57">
                <a:extLst>
                  <a:ext uri="{FF2B5EF4-FFF2-40B4-BE49-F238E27FC236}">
                    <a16:creationId xmlns:a16="http://schemas.microsoft.com/office/drawing/2014/main" id="{7E8FA156-19D4-4C1C-9C6D-33B10F07456E}"/>
                  </a:ext>
                </a:extLst>
              </p:cNvPr>
              <p:cNvSpPr/>
              <p:nvPr/>
            </p:nvSpPr>
            <p:spPr>
              <a:xfrm>
                <a:off x="-42430625" y="1949750"/>
                <a:ext cx="322950" cy="315775"/>
              </a:xfrm>
              <a:custGeom>
                <a:avLst/>
                <a:gdLst/>
                <a:ahLst/>
                <a:cxnLst/>
                <a:rect l="l" t="t" r="r" b="b"/>
                <a:pathLst>
                  <a:path w="12918" h="12631" extrusionOk="0">
                    <a:moveTo>
                      <a:pt x="6427" y="757"/>
                    </a:moveTo>
                    <a:cubicBezTo>
                      <a:pt x="8790" y="757"/>
                      <a:pt x="10712" y="2017"/>
                      <a:pt x="11500" y="3655"/>
                    </a:cubicBezTo>
                    <a:cubicBezTo>
                      <a:pt x="12098" y="4821"/>
                      <a:pt x="12098" y="6081"/>
                      <a:pt x="11500" y="7215"/>
                    </a:cubicBezTo>
                    <a:cubicBezTo>
                      <a:pt x="10679" y="8857"/>
                      <a:pt x="8789" y="10067"/>
                      <a:pt x="6472" y="10067"/>
                    </a:cubicBezTo>
                    <a:cubicBezTo>
                      <a:pt x="6210" y="10067"/>
                      <a:pt x="5943" y="10051"/>
                      <a:pt x="5671" y="10019"/>
                    </a:cubicBezTo>
                    <a:cubicBezTo>
                      <a:pt x="5545" y="10019"/>
                      <a:pt x="5451" y="10051"/>
                      <a:pt x="5325" y="10145"/>
                    </a:cubicBezTo>
                    <a:lnTo>
                      <a:pt x="4285" y="11153"/>
                    </a:lnTo>
                    <a:lnTo>
                      <a:pt x="4285" y="9988"/>
                    </a:lnTo>
                    <a:cubicBezTo>
                      <a:pt x="4285" y="9830"/>
                      <a:pt x="4190" y="9673"/>
                      <a:pt x="4033" y="9578"/>
                    </a:cubicBezTo>
                    <a:cubicBezTo>
                      <a:pt x="3088" y="9200"/>
                      <a:pt x="2300" y="8602"/>
                      <a:pt x="1796" y="7908"/>
                    </a:cubicBezTo>
                    <a:cubicBezTo>
                      <a:pt x="0" y="5577"/>
                      <a:pt x="1071" y="2458"/>
                      <a:pt x="4033" y="1229"/>
                    </a:cubicBezTo>
                    <a:cubicBezTo>
                      <a:pt x="4726" y="914"/>
                      <a:pt x="5545" y="757"/>
                      <a:pt x="6427" y="757"/>
                    </a:cubicBezTo>
                    <a:close/>
                    <a:moveTo>
                      <a:pt x="6427" y="1"/>
                    </a:moveTo>
                    <a:cubicBezTo>
                      <a:pt x="2962" y="1"/>
                      <a:pt x="126" y="2427"/>
                      <a:pt x="126" y="5451"/>
                    </a:cubicBezTo>
                    <a:cubicBezTo>
                      <a:pt x="126" y="7593"/>
                      <a:pt x="1544" y="9389"/>
                      <a:pt x="3497" y="10303"/>
                    </a:cubicBezTo>
                    <a:lnTo>
                      <a:pt x="3497" y="12193"/>
                    </a:lnTo>
                    <a:cubicBezTo>
                      <a:pt x="3497" y="12319"/>
                      <a:pt x="3560" y="12477"/>
                      <a:pt x="3655" y="12540"/>
                    </a:cubicBezTo>
                    <a:cubicBezTo>
                      <a:pt x="3729" y="12599"/>
                      <a:pt x="3825" y="12631"/>
                      <a:pt x="3921" y="12631"/>
                    </a:cubicBezTo>
                    <a:cubicBezTo>
                      <a:pt x="4029" y="12631"/>
                      <a:pt x="4139" y="12591"/>
                      <a:pt x="4222" y="12508"/>
                    </a:cubicBezTo>
                    <a:lnTo>
                      <a:pt x="5829" y="10901"/>
                    </a:lnTo>
                    <a:cubicBezTo>
                      <a:pt x="6063" y="10925"/>
                      <a:pt x="6295" y="10936"/>
                      <a:pt x="6524" y="10936"/>
                    </a:cubicBezTo>
                    <a:cubicBezTo>
                      <a:pt x="9075" y="10936"/>
                      <a:pt x="11304" y="9530"/>
                      <a:pt x="12287" y="7593"/>
                    </a:cubicBezTo>
                    <a:cubicBezTo>
                      <a:pt x="12917" y="6239"/>
                      <a:pt x="12917" y="4663"/>
                      <a:pt x="12256" y="3309"/>
                    </a:cubicBezTo>
                    <a:cubicBezTo>
                      <a:pt x="11311" y="1324"/>
                      <a:pt x="9074" y="1"/>
                      <a:pt x="642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grpSp>
        <p:nvGrpSpPr>
          <p:cNvPr id="29" name="Group 4">
            <a:extLst>
              <a:ext uri="{FF2B5EF4-FFF2-40B4-BE49-F238E27FC236}">
                <a16:creationId xmlns:a16="http://schemas.microsoft.com/office/drawing/2014/main" id="{6FCDABDA-9063-447E-9BBE-E92294B04134}"/>
              </a:ext>
            </a:extLst>
          </p:cNvPr>
          <p:cNvGrpSpPr/>
          <p:nvPr/>
        </p:nvGrpSpPr>
        <p:grpSpPr>
          <a:xfrm>
            <a:off x="4690610" y="2633941"/>
            <a:ext cx="2319017" cy="1941726"/>
            <a:chOff x="3637127" y="1665288"/>
            <a:chExt cx="2319017" cy="1941726"/>
          </a:xfrm>
        </p:grpSpPr>
        <p:sp>
          <p:nvSpPr>
            <p:cNvPr id="30" name="Rounded Rectangle">
              <a:extLst>
                <a:ext uri="{FF2B5EF4-FFF2-40B4-BE49-F238E27FC236}">
                  <a16:creationId xmlns:a16="http://schemas.microsoft.com/office/drawing/2014/main" id="{AC175F61-D487-44FA-BD1B-A7271E3FB57F}"/>
                </a:ext>
              </a:extLst>
            </p:cNvPr>
            <p:cNvSpPr/>
            <p:nvPr/>
          </p:nvSpPr>
          <p:spPr>
            <a:xfrm>
              <a:off x="3637127" y="2023014"/>
              <a:ext cx="2319017" cy="1584000"/>
            </a:xfrm>
            <a:prstGeom prst="roundRect">
              <a:avLst>
                <a:gd name="adj" fmla="val 10295"/>
              </a:avLst>
            </a:prstGeom>
            <a:noFill/>
            <a:ln w="38100">
              <a:solidFill>
                <a:schemeClr val="bg2">
                  <a:lumMod val="85000"/>
                </a:schemeClr>
              </a:solidFill>
              <a:miter lim="400000"/>
            </a:ln>
          </p:spPr>
          <p:txBody>
            <a:bodyPr lIns="71437" tIns="71437" rIns="71437" bIns="71437" anchor="ctr"/>
            <a:lstStyle/>
            <a:p>
              <a:pPr algn="ctr">
                <a:defRPr sz="3000" b="0">
                  <a:solidFill>
                    <a:srgbClr val="FFFFFF"/>
                  </a:solidFill>
                  <a:latin typeface="+mn-lt"/>
                  <a:ea typeface="+mn-ea"/>
                  <a:cs typeface="+mn-cs"/>
                  <a:sym typeface="e-Ukraine UltraLight"/>
                </a:defRPr>
              </a:pPr>
              <a:r>
                <a:rPr lang="uk-UA" sz="1600" dirty="0">
                  <a:solidFill>
                    <a:schemeClr val="tx2"/>
                  </a:solidFill>
                </a:rPr>
                <a:t>Збереження і розвиток ММСБ</a:t>
              </a:r>
            </a:p>
          </p:txBody>
        </p:sp>
        <p:sp>
          <p:nvSpPr>
            <p:cNvPr id="32" name="Oval 49">
              <a:extLst>
                <a:ext uri="{FF2B5EF4-FFF2-40B4-BE49-F238E27FC236}">
                  <a16:creationId xmlns:a16="http://schemas.microsoft.com/office/drawing/2014/main" id="{61E95522-2744-4C66-B8C7-171BCB8091DA}"/>
                </a:ext>
              </a:extLst>
            </p:cNvPr>
            <p:cNvSpPr/>
            <p:nvPr/>
          </p:nvSpPr>
          <p:spPr bwMode="ltGray">
            <a:xfrm>
              <a:off x="4414743" y="1665288"/>
              <a:ext cx="720000" cy="7200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50" charset="0"/>
              </a:endParaRPr>
            </a:p>
          </p:txBody>
        </p:sp>
        <p:sp>
          <p:nvSpPr>
            <p:cNvPr id="33" name="Google Shape;9306;p63">
              <a:extLst>
                <a:ext uri="{FF2B5EF4-FFF2-40B4-BE49-F238E27FC236}">
                  <a16:creationId xmlns:a16="http://schemas.microsoft.com/office/drawing/2014/main" id="{59FB5986-4059-4031-802B-57D1AC2F0F0C}"/>
                </a:ext>
              </a:extLst>
            </p:cNvPr>
            <p:cNvSpPr/>
            <p:nvPr/>
          </p:nvSpPr>
          <p:spPr>
            <a:xfrm>
              <a:off x="4611880" y="1849569"/>
              <a:ext cx="402012" cy="399919"/>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34" name="Group 98">
            <a:extLst>
              <a:ext uri="{FF2B5EF4-FFF2-40B4-BE49-F238E27FC236}">
                <a16:creationId xmlns:a16="http://schemas.microsoft.com/office/drawing/2014/main" id="{DC5B39DA-C261-4909-A92A-7AB19D61D1B6}"/>
              </a:ext>
            </a:extLst>
          </p:cNvPr>
          <p:cNvGrpSpPr/>
          <p:nvPr/>
        </p:nvGrpSpPr>
        <p:grpSpPr>
          <a:xfrm>
            <a:off x="2434325" y="4495563"/>
            <a:ext cx="2319017" cy="1941726"/>
            <a:chOff x="731837" y="1665288"/>
            <a:chExt cx="2319017" cy="1941726"/>
          </a:xfrm>
        </p:grpSpPr>
        <p:sp>
          <p:nvSpPr>
            <p:cNvPr id="35" name="Rounded Rectangle">
              <a:extLst>
                <a:ext uri="{FF2B5EF4-FFF2-40B4-BE49-F238E27FC236}">
                  <a16:creationId xmlns:a16="http://schemas.microsoft.com/office/drawing/2014/main" id="{94112FB0-F23A-4692-85FD-FF32EBC72220}"/>
                </a:ext>
              </a:extLst>
            </p:cNvPr>
            <p:cNvSpPr/>
            <p:nvPr/>
          </p:nvSpPr>
          <p:spPr>
            <a:xfrm>
              <a:off x="731837" y="2023014"/>
              <a:ext cx="2319017" cy="1584000"/>
            </a:xfrm>
            <a:prstGeom prst="roundRect">
              <a:avLst>
                <a:gd name="adj" fmla="val 10295"/>
              </a:avLst>
            </a:prstGeom>
            <a:noFill/>
            <a:ln w="38100">
              <a:solidFill>
                <a:schemeClr val="bg2">
                  <a:lumMod val="85000"/>
                </a:schemeClr>
              </a:solidFill>
              <a:miter lim="400000"/>
            </a:ln>
          </p:spPr>
          <p:txBody>
            <a:bodyPr lIns="71437" tIns="71437" rIns="71437" bIns="71437" anchor="ctr"/>
            <a:lstStyle/>
            <a:p>
              <a:pPr algn="ctr">
                <a:defRPr sz="3000" b="0">
                  <a:solidFill>
                    <a:srgbClr val="FFFFFF"/>
                  </a:solidFill>
                  <a:latin typeface="+mn-lt"/>
                  <a:ea typeface="+mn-ea"/>
                  <a:cs typeface="+mn-cs"/>
                  <a:sym typeface="e-Ukraine UltraLight"/>
                </a:defRPr>
              </a:pPr>
              <a:r>
                <a:rPr lang="uk-UA" sz="1600" dirty="0">
                  <a:solidFill>
                    <a:schemeClr val="tx2"/>
                  </a:solidFill>
                </a:rPr>
                <a:t>Людський капітал</a:t>
              </a:r>
            </a:p>
          </p:txBody>
        </p:sp>
        <p:sp>
          <p:nvSpPr>
            <p:cNvPr id="36" name="Oval 49">
              <a:extLst>
                <a:ext uri="{FF2B5EF4-FFF2-40B4-BE49-F238E27FC236}">
                  <a16:creationId xmlns:a16="http://schemas.microsoft.com/office/drawing/2014/main" id="{D2D427FA-DD1B-4E56-B0BA-E11D52EBD896}"/>
                </a:ext>
              </a:extLst>
            </p:cNvPr>
            <p:cNvSpPr/>
            <p:nvPr/>
          </p:nvSpPr>
          <p:spPr bwMode="ltGray">
            <a:xfrm>
              <a:off x="1509453" y="1665288"/>
              <a:ext cx="720000" cy="7200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e-Ukraine UltraLight" panose="00000500000000000000" pitchFamily="50" charset="0"/>
              </a:endParaRPr>
            </a:p>
          </p:txBody>
        </p:sp>
      </p:grpSp>
      <p:grpSp>
        <p:nvGrpSpPr>
          <p:cNvPr id="37" name="Group 117">
            <a:extLst>
              <a:ext uri="{FF2B5EF4-FFF2-40B4-BE49-F238E27FC236}">
                <a16:creationId xmlns:a16="http://schemas.microsoft.com/office/drawing/2014/main" id="{3B1779BD-11AF-4468-B0C9-41E90F1F3C81}"/>
              </a:ext>
            </a:extLst>
          </p:cNvPr>
          <p:cNvGrpSpPr/>
          <p:nvPr/>
        </p:nvGrpSpPr>
        <p:grpSpPr>
          <a:xfrm>
            <a:off x="3317437" y="4777333"/>
            <a:ext cx="302011" cy="460708"/>
            <a:chOff x="2017848" y="2390674"/>
            <a:chExt cx="332825" cy="507714"/>
          </a:xfrm>
          <a:solidFill>
            <a:schemeClr val="tx2"/>
          </a:solidFill>
        </p:grpSpPr>
        <p:sp>
          <p:nvSpPr>
            <p:cNvPr id="38" name="Google Shape;5404;p54">
              <a:extLst>
                <a:ext uri="{FF2B5EF4-FFF2-40B4-BE49-F238E27FC236}">
                  <a16:creationId xmlns:a16="http://schemas.microsoft.com/office/drawing/2014/main" id="{859DA350-DAD5-407C-AADA-F584906E4CD3}"/>
                </a:ext>
              </a:extLst>
            </p:cNvPr>
            <p:cNvSpPr/>
            <p:nvPr/>
          </p:nvSpPr>
          <p:spPr>
            <a:xfrm>
              <a:off x="2017848" y="2390674"/>
              <a:ext cx="332825" cy="507714"/>
            </a:xfrm>
            <a:custGeom>
              <a:avLst/>
              <a:gdLst/>
              <a:ahLst/>
              <a:cxnLst/>
              <a:rect l="l" t="t" r="r" b="b"/>
              <a:pathLst>
                <a:path w="8286" h="12640" extrusionOk="0">
                  <a:moveTo>
                    <a:pt x="4159" y="788"/>
                  </a:moveTo>
                  <a:cubicBezTo>
                    <a:pt x="5986" y="788"/>
                    <a:pt x="7467" y="2301"/>
                    <a:pt x="7467" y="4096"/>
                  </a:cubicBezTo>
                  <a:cubicBezTo>
                    <a:pt x="7467" y="5924"/>
                    <a:pt x="5986" y="7404"/>
                    <a:pt x="4159" y="7404"/>
                  </a:cubicBezTo>
                  <a:cubicBezTo>
                    <a:pt x="2300" y="7404"/>
                    <a:pt x="851" y="5924"/>
                    <a:pt x="851" y="4096"/>
                  </a:cubicBezTo>
                  <a:cubicBezTo>
                    <a:pt x="851" y="2301"/>
                    <a:pt x="2363" y="788"/>
                    <a:pt x="4159" y="788"/>
                  </a:cubicBezTo>
                  <a:close/>
                  <a:moveTo>
                    <a:pt x="851" y="8917"/>
                  </a:moveTo>
                  <a:cubicBezTo>
                    <a:pt x="1513" y="8980"/>
                    <a:pt x="2206" y="9295"/>
                    <a:pt x="2773" y="9862"/>
                  </a:cubicBezTo>
                  <a:cubicBezTo>
                    <a:pt x="3340" y="10429"/>
                    <a:pt x="3655" y="11122"/>
                    <a:pt x="3718" y="11784"/>
                  </a:cubicBezTo>
                  <a:cubicBezTo>
                    <a:pt x="3056" y="11689"/>
                    <a:pt x="2395" y="11374"/>
                    <a:pt x="1796" y="10838"/>
                  </a:cubicBezTo>
                  <a:cubicBezTo>
                    <a:pt x="1261" y="10271"/>
                    <a:pt x="945" y="9578"/>
                    <a:pt x="851" y="8917"/>
                  </a:cubicBezTo>
                  <a:close/>
                  <a:moveTo>
                    <a:pt x="7467" y="8917"/>
                  </a:moveTo>
                  <a:lnTo>
                    <a:pt x="7467" y="8917"/>
                  </a:lnTo>
                  <a:cubicBezTo>
                    <a:pt x="7404" y="9578"/>
                    <a:pt x="7089" y="10240"/>
                    <a:pt x="6522" y="10838"/>
                  </a:cubicBezTo>
                  <a:cubicBezTo>
                    <a:pt x="5923" y="11374"/>
                    <a:pt x="5262" y="11689"/>
                    <a:pt x="4600" y="11784"/>
                  </a:cubicBezTo>
                  <a:cubicBezTo>
                    <a:pt x="4663" y="11122"/>
                    <a:pt x="4947" y="10429"/>
                    <a:pt x="5545" y="9862"/>
                  </a:cubicBezTo>
                  <a:cubicBezTo>
                    <a:pt x="6081" y="9295"/>
                    <a:pt x="6805" y="8980"/>
                    <a:pt x="7467" y="8917"/>
                  </a:cubicBezTo>
                  <a:close/>
                  <a:moveTo>
                    <a:pt x="4159" y="1"/>
                  </a:moveTo>
                  <a:cubicBezTo>
                    <a:pt x="1891" y="1"/>
                    <a:pt x="32" y="1860"/>
                    <a:pt x="32" y="4128"/>
                  </a:cubicBezTo>
                  <a:cubicBezTo>
                    <a:pt x="32" y="6270"/>
                    <a:pt x="1670" y="8034"/>
                    <a:pt x="3781" y="8223"/>
                  </a:cubicBezTo>
                  <a:lnTo>
                    <a:pt x="3781" y="9736"/>
                  </a:lnTo>
                  <a:cubicBezTo>
                    <a:pt x="3623" y="9578"/>
                    <a:pt x="3497" y="9421"/>
                    <a:pt x="3371" y="9295"/>
                  </a:cubicBezTo>
                  <a:cubicBezTo>
                    <a:pt x="2584" y="8507"/>
                    <a:pt x="1576" y="8066"/>
                    <a:pt x="410" y="8066"/>
                  </a:cubicBezTo>
                  <a:cubicBezTo>
                    <a:pt x="189" y="8066"/>
                    <a:pt x="32" y="8287"/>
                    <a:pt x="32" y="8476"/>
                  </a:cubicBezTo>
                  <a:cubicBezTo>
                    <a:pt x="0" y="9578"/>
                    <a:pt x="410" y="10649"/>
                    <a:pt x="1261" y="11437"/>
                  </a:cubicBezTo>
                  <a:cubicBezTo>
                    <a:pt x="2048" y="12225"/>
                    <a:pt x="3056" y="12634"/>
                    <a:pt x="4096" y="12634"/>
                  </a:cubicBezTo>
                  <a:lnTo>
                    <a:pt x="4159" y="12634"/>
                  </a:lnTo>
                  <a:cubicBezTo>
                    <a:pt x="4225" y="12638"/>
                    <a:pt x="4290" y="12640"/>
                    <a:pt x="4355" y="12640"/>
                  </a:cubicBezTo>
                  <a:cubicBezTo>
                    <a:pt x="5385" y="12640"/>
                    <a:pt x="6348" y="12178"/>
                    <a:pt x="7089" y="11437"/>
                  </a:cubicBezTo>
                  <a:cubicBezTo>
                    <a:pt x="7877" y="10649"/>
                    <a:pt x="8286" y="9610"/>
                    <a:pt x="8286" y="8476"/>
                  </a:cubicBezTo>
                  <a:cubicBezTo>
                    <a:pt x="8286" y="8223"/>
                    <a:pt x="8097" y="8066"/>
                    <a:pt x="7908" y="8066"/>
                  </a:cubicBezTo>
                  <a:cubicBezTo>
                    <a:pt x="7872" y="8065"/>
                    <a:pt x="7837" y="8064"/>
                    <a:pt x="7801" y="8064"/>
                  </a:cubicBezTo>
                  <a:cubicBezTo>
                    <a:pt x="6709" y="8064"/>
                    <a:pt x="5709" y="8532"/>
                    <a:pt x="4947" y="9295"/>
                  </a:cubicBezTo>
                  <a:cubicBezTo>
                    <a:pt x="4821" y="9452"/>
                    <a:pt x="4663" y="9578"/>
                    <a:pt x="4569" y="9736"/>
                  </a:cubicBezTo>
                  <a:lnTo>
                    <a:pt x="4569" y="8223"/>
                  </a:lnTo>
                  <a:cubicBezTo>
                    <a:pt x="6648" y="8034"/>
                    <a:pt x="8286" y="6270"/>
                    <a:pt x="8286" y="4128"/>
                  </a:cubicBezTo>
                  <a:cubicBezTo>
                    <a:pt x="8286" y="1860"/>
                    <a:pt x="6459" y="1"/>
                    <a:pt x="415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39" name="Graphic 119">
              <a:extLst>
                <a:ext uri="{FF2B5EF4-FFF2-40B4-BE49-F238E27FC236}">
                  <a16:creationId xmlns:a16="http://schemas.microsoft.com/office/drawing/2014/main" id="{E572E117-0146-4BD0-AFFD-56EACF0EA1D5}"/>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130291" y="2465222"/>
              <a:ext cx="115008" cy="168500"/>
            </a:xfrm>
            <a:prstGeom prst="rect">
              <a:avLst/>
            </a:prstGeom>
          </p:spPr>
        </p:pic>
      </p:grpSp>
    </p:spTree>
    <p:extLst>
      <p:ext uri="{BB962C8B-B14F-4D97-AF65-F5344CB8AC3E}">
        <p14:creationId xmlns:p14="http://schemas.microsoft.com/office/powerpoint/2010/main" val="2999494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Graphic 20">
            <a:extLst>
              <a:ext uri="{FF2B5EF4-FFF2-40B4-BE49-F238E27FC236}">
                <a16:creationId xmlns:a16="http://schemas.microsoft.com/office/drawing/2014/main" id="{A6722032-24A5-4FC5-ADAD-CC4BD07803E4}"/>
              </a:ext>
            </a:extLst>
          </p:cNvPr>
          <p:cNvSpPr/>
          <p:nvPr/>
        </p:nvSpPr>
        <p:spPr>
          <a:xfrm>
            <a:off x="410625" y="1550513"/>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pPr algn="ctr"/>
            <a:r>
              <a:rPr lang="uk-UA" sz="3200" dirty="0" smtClean="0"/>
              <a:t>1</a:t>
            </a:r>
            <a:endParaRPr lang="uk-UA" sz="3200" dirty="0"/>
          </a:p>
        </p:txBody>
      </p:sp>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8558"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22BA6ED9-E631-4C85-A10F-6F61D874DD6E}"/>
              </a:ext>
            </a:extLst>
          </p:cNvPr>
          <p:cNvSpPr>
            <a:spLocks noGrp="1"/>
          </p:cNvSpPr>
          <p:nvPr>
            <p:ph type="body" sz="quarter" idx="11"/>
          </p:nvPr>
        </p:nvSpPr>
        <p:spPr>
          <a:xfrm>
            <a:off x="1869245" y="1297384"/>
            <a:ext cx="9921240" cy="1123554"/>
          </a:xfrm>
        </p:spPr>
        <p:txBody>
          <a:bodyPr/>
          <a:lstStyle/>
          <a:p>
            <a:r>
              <a:rPr lang="ru-RU" sz="2000" dirty="0">
                <a:solidFill>
                  <a:schemeClr val="accent2"/>
                </a:solidFill>
                <a:latin typeface="+mj-lt"/>
              </a:rPr>
              <a:t>Запровадження в Україні складення, подання та оприлюднення підприємствами звітності із сталого розвитку згідно з Європейськими стандартами звітності із сталого розвитку (ESRS)</a:t>
            </a:r>
          </a:p>
        </p:txBody>
      </p:sp>
      <p:sp>
        <p:nvSpPr>
          <p:cNvPr id="7" name="Text Placeholder 6">
            <a:extLst>
              <a:ext uri="{FF2B5EF4-FFF2-40B4-BE49-F238E27FC236}">
                <a16:creationId xmlns:a16="http://schemas.microsoft.com/office/drawing/2014/main" id="{89017C72-A07D-4DA0-82B8-1E1E5E8D3E52}"/>
              </a:ext>
            </a:extLst>
          </p:cNvPr>
          <p:cNvSpPr>
            <a:spLocks noGrp="1"/>
          </p:cNvSpPr>
          <p:nvPr>
            <p:ph type="body" sz="quarter" idx="15"/>
          </p:nvPr>
        </p:nvSpPr>
        <p:spPr>
          <a:xfrm>
            <a:off x="7654023" y="2784797"/>
            <a:ext cx="3322956" cy="1123554"/>
          </a:xfrm>
        </p:spPr>
        <p:txBody>
          <a:bodyPr/>
          <a:lstStyle/>
          <a:p>
            <a:r>
              <a:rPr lang="uk-UA" sz="1400" dirty="0"/>
              <a:t>розроблення порядку подання та оприлюднення звітності із сталого розвитку</a:t>
            </a:r>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sz="2800" dirty="0">
                <a:solidFill>
                  <a:srgbClr val="0091D7"/>
                </a:solidFill>
              </a:rPr>
              <a:t>Стратегічна ціль 1, </a:t>
            </a:r>
            <a:r>
              <a:rPr lang="uk-UA" sz="2800" dirty="0"/>
              <a:t/>
            </a:r>
            <a:br>
              <a:rPr lang="uk-UA" sz="2800" dirty="0"/>
            </a:br>
            <a:r>
              <a:rPr lang="uk-UA" sz="2800" dirty="0"/>
              <a:t>шляхи досягнення</a:t>
            </a:r>
            <a:endParaRPr lang="en-US" dirty="0"/>
          </a:p>
        </p:txBody>
      </p:sp>
      <p:sp>
        <p:nvSpPr>
          <p:cNvPr id="28" name="Text Placeholder 27">
            <a:extLst>
              <a:ext uri="{FF2B5EF4-FFF2-40B4-BE49-F238E27FC236}">
                <a16:creationId xmlns:a16="http://schemas.microsoft.com/office/drawing/2014/main" id="{D9AC67CC-64B8-4CCF-B227-DAAE2C081C5A}"/>
              </a:ext>
            </a:extLst>
          </p:cNvPr>
          <p:cNvSpPr>
            <a:spLocks noGrp="1"/>
          </p:cNvSpPr>
          <p:nvPr>
            <p:ph type="body" sz="quarter" idx="17"/>
          </p:nvPr>
        </p:nvSpPr>
        <p:spPr>
          <a:xfrm>
            <a:off x="1790114" y="4025521"/>
            <a:ext cx="3322956" cy="1123554"/>
          </a:xfrm>
        </p:spPr>
        <p:txBody>
          <a:bodyPr/>
          <a:lstStyle/>
          <a:p>
            <a:r>
              <a:rPr lang="uk-UA" sz="1400" dirty="0"/>
              <a:t>застосування підприємствами Європейських стандартів звітності із сталого розвитку (</a:t>
            </a:r>
            <a:r>
              <a:rPr lang="en-US" sz="1400" dirty="0"/>
              <a:t>ESRS</a:t>
            </a:r>
            <a:r>
              <a:rPr lang="en-US" sz="1400" dirty="0" smtClean="0"/>
              <a:t>)</a:t>
            </a:r>
            <a:endParaRPr lang="uk-UA" sz="1400" dirty="0"/>
          </a:p>
        </p:txBody>
      </p:sp>
      <p:sp>
        <p:nvSpPr>
          <p:cNvPr id="29" name="Text Placeholder 28">
            <a:extLst>
              <a:ext uri="{FF2B5EF4-FFF2-40B4-BE49-F238E27FC236}">
                <a16:creationId xmlns:a16="http://schemas.microsoft.com/office/drawing/2014/main" id="{2FD1C625-5931-4D63-BA70-660E6E757BA9}"/>
              </a:ext>
            </a:extLst>
          </p:cNvPr>
          <p:cNvSpPr>
            <a:spLocks noGrp="1"/>
          </p:cNvSpPr>
          <p:nvPr>
            <p:ph type="body" sz="quarter" idx="19"/>
          </p:nvPr>
        </p:nvSpPr>
        <p:spPr>
          <a:xfrm>
            <a:off x="7689193" y="4218950"/>
            <a:ext cx="3322956" cy="2173057"/>
          </a:xfrm>
        </p:spPr>
        <p:txBody>
          <a:bodyPr/>
          <a:lstStyle/>
          <a:p>
            <a:r>
              <a:rPr lang="uk-UA" sz="1400" dirty="0"/>
              <a:t>визначення механізму та способів комунікації органів державної влади та інших розпорядників адміністративних даних із підприємствами для надання у межах повноважень роз’яснень і консультацій з питань звітування із сталого розвитку</a:t>
            </a:r>
          </a:p>
        </p:txBody>
      </p:sp>
      <p:sp>
        <p:nvSpPr>
          <p:cNvPr id="30" name="Text Placeholder 29">
            <a:extLst>
              <a:ext uri="{FF2B5EF4-FFF2-40B4-BE49-F238E27FC236}">
                <a16:creationId xmlns:a16="http://schemas.microsoft.com/office/drawing/2014/main" id="{C598BAF4-2F18-4F07-982F-9325255E6602}"/>
              </a:ext>
            </a:extLst>
          </p:cNvPr>
          <p:cNvSpPr>
            <a:spLocks noGrp="1"/>
          </p:cNvSpPr>
          <p:nvPr>
            <p:ph type="body" sz="quarter" idx="21"/>
          </p:nvPr>
        </p:nvSpPr>
        <p:spPr>
          <a:xfrm>
            <a:off x="1781321" y="5477259"/>
            <a:ext cx="3652324" cy="1123554"/>
          </a:xfrm>
        </p:spPr>
        <p:txBody>
          <a:bodyPr/>
          <a:lstStyle/>
          <a:p>
            <a:r>
              <a:rPr lang="uk-UA" sz="1400" dirty="0"/>
              <a:t>запровадження єдиного електронного формату звітності із сталого розвитку, складеної згідно з Європейськими стандартами звітності із сталого розвитку (</a:t>
            </a:r>
            <a:r>
              <a:rPr lang="en-US" sz="1400" dirty="0"/>
              <a:t>ESRS)</a:t>
            </a:r>
            <a:endParaRPr lang="uk-UA" sz="1400" dirty="0"/>
          </a:p>
        </p:txBody>
      </p:sp>
      <p:sp>
        <p:nvSpPr>
          <p:cNvPr id="12" name="Text Placeholder 11">
            <a:extLst>
              <a:ext uri="{FF2B5EF4-FFF2-40B4-BE49-F238E27FC236}">
                <a16:creationId xmlns:a16="http://schemas.microsoft.com/office/drawing/2014/main" id="{36F2BCF7-16C9-4141-944C-78270B12DACC}"/>
              </a:ext>
            </a:extLst>
          </p:cNvPr>
          <p:cNvSpPr>
            <a:spLocks noGrp="1"/>
          </p:cNvSpPr>
          <p:nvPr>
            <p:ph type="body" sz="quarter" idx="23"/>
          </p:nvPr>
        </p:nvSpPr>
        <p:spPr>
          <a:xfrm>
            <a:off x="1807139" y="2867223"/>
            <a:ext cx="3322956" cy="1123554"/>
          </a:xfrm>
        </p:spPr>
        <p:txBody>
          <a:bodyPr/>
          <a:lstStyle/>
          <a:p>
            <a:r>
              <a:rPr lang="ru-RU" sz="1400" dirty="0"/>
              <a:t>імплементації вимог європейського законодавства щодо звітування із сталого </a:t>
            </a:r>
            <a:r>
              <a:rPr lang="ru-RU" sz="1400" dirty="0" smtClean="0"/>
              <a:t>розвитку</a:t>
            </a:r>
            <a:endParaRPr lang="ru-RU" sz="1400" dirty="0"/>
          </a:p>
        </p:txBody>
      </p:sp>
      <p:sp>
        <p:nvSpPr>
          <p:cNvPr id="46" name="Graphic 20">
            <a:extLst>
              <a:ext uri="{FF2B5EF4-FFF2-40B4-BE49-F238E27FC236}">
                <a16:creationId xmlns:a16="http://schemas.microsoft.com/office/drawing/2014/main" id="{151FBCBB-58A2-4DE4-B34F-10B5F795818E}"/>
              </a:ext>
            </a:extLst>
          </p:cNvPr>
          <p:cNvSpPr/>
          <p:nvPr/>
        </p:nvSpPr>
        <p:spPr>
          <a:xfrm>
            <a:off x="269949" y="4278112"/>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52" name="Graphic 20">
            <a:extLst>
              <a:ext uri="{FF2B5EF4-FFF2-40B4-BE49-F238E27FC236}">
                <a16:creationId xmlns:a16="http://schemas.microsoft.com/office/drawing/2014/main" id="{ED0C0798-597F-4E55-A327-EF10F88D99BD}"/>
              </a:ext>
            </a:extLst>
          </p:cNvPr>
          <p:cNvSpPr/>
          <p:nvPr/>
        </p:nvSpPr>
        <p:spPr>
          <a:xfrm>
            <a:off x="6190007" y="315438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56" name="Graphic 20">
            <a:extLst>
              <a:ext uri="{FF2B5EF4-FFF2-40B4-BE49-F238E27FC236}">
                <a16:creationId xmlns:a16="http://schemas.microsoft.com/office/drawing/2014/main" id="{12427822-5DEF-473C-97E6-FC50BDCBC518}"/>
              </a:ext>
            </a:extLst>
          </p:cNvPr>
          <p:cNvSpPr/>
          <p:nvPr/>
        </p:nvSpPr>
        <p:spPr>
          <a:xfrm>
            <a:off x="6075707" y="4427581"/>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37" name="Graphic 20">
            <a:extLst>
              <a:ext uri="{FF2B5EF4-FFF2-40B4-BE49-F238E27FC236}">
                <a16:creationId xmlns:a16="http://schemas.microsoft.com/office/drawing/2014/main" id="{8DC6DD33-BF2F-4D80-9098-639C879D4128}"/>
              </a:ext>
            </a:extLst>
          </p:cNvPr>
          <p:cNvSpPr/>
          <p:nvPr/>
        </p:nvSpPr>
        <p:spPr>
          <a:xfrm>
            <a:off x="269949" y="5548911"/>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43" name="Graphic 20">
            <a:extLst>
              <a:ext uri="{FF2B5EF4-FFF2-40B4-BE49-F238E27FC236}">
                <a16:creationId xmlns:a16="http://schemas.microsoft.com/office/drawing/2014/main" id="{C34844F4-2C28-4B8A-BAD3-BC308775302D}"/>
              </a:ext>
            </a:extLst>
          </p:cNvPr>
          <p:cNvSpPr/>
          <p:nvPr/>
        </p:nvSpPr>
        <p:spPr>
          <a:xfrm>
            <a:off x="369499" y="315438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38" name="Slide Number Placeholder 8">
            <a:extLst>
              <a:ext uri="{FF2B5EF4-FFF2-40B4-BE49-F238E27FC236}">
                <a16:creationId xmlns:a16="http://schemas.microsoft.com/office/drawing/2014/main" id="{88BEC1D9-9EB5-4D3D-BED5-C8C7B77D83E3}"/>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20</a:t>
            </a:fld>
            <a:endParaRPr lang="uk-UA" sz="900" dirty="0">
              <a:latin typeface="+mn-lt"/>
            </a:endParaRPr>
          </a:p>
        </p:txBody>
      </p:sp>
      <p:sp>
        <p:nvSpPr>
          <p:cNvPr id="41" name="Text Placeholder 27">
            <a:extLst>
              <a:ext uri="{FF2B5EF4-FFF2-40B4-BE49-F238E27FC236}">
                <a16:creationId xmlns:a16="http://schemas.microsoft.com/office/drawing/2014/main" id="{D9AC67CC-64B8-4CCF-B227-DAAE2C081C5A}"/>
              </a:ext>
            </a:extLst>
          </p:cNvPr>
          <p:cNvSpPr txBox="1">
            <a:spLocks/>
          </p:cNvSpPr>
          <p:nvPr/>
        </p:nvSpPr>
        <p:spPr>
          <a:xfrm>
            <a:off x="948982" y="2420937"/>
            <a:ext cx="3322956" cy="357431"/>
          </a:xfrm>
          <a:prstGeom prst="rect">
            <a:avLst/>
          </a:prstGeom>
        </p:spPr>
        <p:txBody>
          <a:bodyPr vert="horz" lIns="0" tIns="0" rIns="0" bIns="0" rtlCol="0" anchor="ctr">
            <a:noAutofit/>
          </a:bodyPr>
          <a:lstStyle>
            <a:lvl1pPr marL="0" marR="0" indent="-205740" algn="l" defTabSz="685800" rtl="0" eaLnBrk="1" fontAlgn="auto" latinLnBrk="0" hangingPunct="1">
              <a:lnSpc>
                <a:spcPct val="100000"/>
              </a:lnSpc>
              <a:spcBef>
                <a:spcPts val="0"/>
              </a:spcBef>
              <a:spcAft>
                <a:spcPts val="0"/>
              </a:spcAft>
              <a:buClr>
                <a:schemeClr val="tx1"/>
              </a:buClr>
              <a:buSzTx/>
              <a:buFontTx/>
              <a:buNone/>
              <a:tabLst/>
              <a:defRPr sz="1600" kern="1200">
                <a:solidFill>
                  <a:schemeClr val="tx1"/>
                </a:solidFill>
                <a:latin typeface="+mn-lt"/>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baseline="0">
                <a:solidFill>
                  <a:schemeClr val="tx1"/>
                </a:solidFill>
                <a:latin typeface="e-Ukraine UltraLight" panose="00000500000000000000" pitchFamily="2"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r>
              <a:rPr lang="uk-UA" dirty="0" smtClean="0"/>
              <a:t>Досягається завдяки:</a:t>
            </a:r>
            <a:endParaRPr lang="uk-UA" dirty="0"/>
          </a:p>
        </p:txBody>
      </p:sp>
      <p:grpSp>
        <p:nvGrpSpPr>
          <p:cNvPr id="42" name="Google Shape;6483;p56">
            <a:extLst>
              <a:ext uri="{FF2B5EF4-FFF2-40B4-BE49-F238E27FC236}">
                <a16:creationId xmlns:a16="http://schemas.microsoft.com/office/drawing/2014/main" id="{BFF8CA60-E67A-4B50-A5DC-EFED3451160F}"/>
              </a:ext>
            </a:extLst>
          </p:cNvPr>
          <p:cNvGrpSpPr/>
          <p:nvPr/>
        </p:nvGrpSpPr>
        <p:grpSpPr>
          <a:xfrm>
            <a:off x="833379" y="3170041"/>
            <a:ext cx="517960" cy="517917"/>
            <a:chOff x="-47159525" y="2342000"/>
            <a:chExt cx="300900" cy="300875"/>
          </a:xfrm>
          <a:solidFill>
            <a:schemeClr val="tx1"/>
          </a:solidFill>
        </p:grpSpPr>
        <p:sp>
          <p:nvSpPr>
            <p:cNvPr id="44" name="Google Shape;6484;p56">
              <a:extLst>
                <a:ext uri="{FF2B5EF4-FFF2-40B4-BE49-F238E27FC236}">
                  <a16:creationId xmlns:a16="http://schemas.microsoft.com/office/drawing/2014/main" id="{85429B3E-3438-4A42-96B9-736C3B4490A3}"/>
                </a:ext>
              </a:extLst>
            </p:cNvPr>
            <p:cNvSpPr/>
            <p:nvPr/>
          </p:nvSpPr>
          <p:spPr>
            <a:xfrm>
              <a:off x="-47122500" y="2376650"/>
              <a:ext cx="123675" cy="125250"/>
            </a:xfrm>
            <a:custGeom>
              <a:avLst/>
              <a:gdLst/>
              <a:ahLst/>
              <a:cxnLst/>
              <a:rect l="l" t="t" r="r" b="b"/>
              <a:pathLst>
                <a:path w="4947" h="5010" extrusionOk="0">
                  <a:moveTo>
                    <a:pt x="1765" y="756"/>
                  </a:moveTo>
                  <a:cubicBezTo>
                    <a:pt x="2237" y="756"/>
                    <a:pt x="2615" y="1008"/>
                    <a:pt x="2741" y="1450"/>
                  </a:cubicBezTo>
                  <a:lnTo>
                    <a:pt x="1765" y="1450"/>
                  </a:lnTo>
                  <a:cubicBezTo>
                    <a:pt x="1575" y="1450"/>
                    <a:pt x="1418" y="1607"/>
                    <a:pt x="1418" y="1828"/>
                  </a:cubicBezTo>
                  <a:lnTo>
                    <a:pt x="1418" y="2804"/>
                  </a:lnTo>
                  <a:cubicBezTo>
                    <a:pt x="1008" y="2647"/>
                    <a:pt x="693" y="2237"/>
                    <a:pt x="693" y="1828"/>
                  </a:cubicBezTo>
                  <a:cubicBezTo>
                    <a:pt x="693" y="1229"/>
                    <a:pt x="1166" y="756"/>
                    <a:pt x="1765" y="756"/>
                  </a:cubicBezTo>
                  <a:close/>
                  <a:moveTo>
                    <a:pt x="2741" y="2174"/>
                  </a:moveTo>
                  <a:cubicBezTo>
                    <a:pt x="2615" y="2458"/>
                    <a:pt x="2395" y="2678"/>
                    <a:pt x="2111" y="2804"/>
                  </a:cubicBezTo>
                  <a:lnTo>
                    <a:pt x="2111" y="2174"/>
                  </a:lnTo>
                  <a:close/>
                  <a:moveTo>
                    <a:pt x="4253" y="2143"/>
                  </a:moveTo>
                  <a:lnTo>
                    <a:pt x="4253" y="4285"/>
                  </a:lnTo>
                  <a:lnTo>
                    <a:pt x="2111" y="4285"/>
                  </a:lnTo>
                  <a:lnTo>
                    <a:pt x="2111" y="3497"/>
                  </a:lnTo>
                  <a:cubicBezTo>
                    <a:pt x="2804" y="3340"/>
                    <a:pt x="3340" y="2836"/>
                    <a:pt x="3497" y="2143"/>
                  </a:cubicBezTo>
                  <a:close/>
                  <a:moveTo>
                    <a:pt x="1765" y="0"/>
                  </a:moveTo>
                  <a:cubicBezTo>
                    <a:pt x="788" y="0"/>
                    <a:pt x="0" y="788"/>
                    <a:pt x="0" y="1765"/>
                  </a:cubicBezTo>
                  <a:cubicBezTo>
                    <a:pt x="0" y="2647"/>
                    <a:pt x="567" y="3340"/>
                    <a:pt x="1418" y="3497"/>
                  </a:cubicBezTo>
                  <a:lnTo>
                    <a:pt x="1418" y="4663"/>
                  </a:lnTo>
                  <a:cubicBezTo>
                    <a:pt x="1418" y="4852"/>
                    <a:pt x="1575" y="5010"/>
                    <a:pt x="1765" y="5010"/>
                  </a:cubicBezTo>
                  <a:lnTo>
                    <a:pt x="4600" y="5010"/>
                  </a:lnTo>
                  <a:cubicBezTo>
                    <a:pt x="4789" y="5010"/>
                    <a:pt x="4947" y="4852"/>
                    <a:pt x="4947" y="4663"/>
                  </a:cubicBezTo>
                  <a:lnTo>
                    <a:pt x="4947" y="1765"/>
                  </a:lnTo>
                  <a:cubicBezTo>
                    <a:pt x="4947" y="1576"/>
                    <a:pt x="4789" y="1418"/>
                    <a:pt x="4600" y="1418"/>
                  </a:cubicBezTo>
                  <a:lnTo>
                    <a:pt x="3497" y="1418"/>
                  </a:lnTo>
                  <a:cubicBezTo>
                    <a:pt x="3340" y="630"/>
                    <a:pt x="2615" y="0"/>
                    <a:pt x="176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7" name="Google Shape;6485;p56">
              <a:extLst>
                <a:ext uri="{FF2B5EF4-FFF2-40B4-BE49-F238E27FC236}">
                  <a16:creationId xmlns:a16="http://schemas.microsoft.com/office/drawing/2014/main" id="{75365188-4DB9-4E55-AE84-FE7D9FC60B59}"/>
                </a:ext>
              </a:extLst>
            </p:cNvPr>
            <p:cNvSpPr/>
            <p:nvPr/>
          </p:nvSpPr>
          <p:spPr>
            <a:xfrm>
              <a:off x="-47159525" y="2342000"/>
              <a:ext cx="300900" cy="300875"/>
            </a:xfrm>
            <a:custGeom>
              <a:avLst/>
              <a:gdLst/>
              <a:ahLst/>
              <a:cxnLst/>
              <a:rect l="l" t="t" r="r" b="b"/>
              <a:pathLst>
                <a:path w="12036" h="12035" extrusionOk="0">
                  <a:moveTo>
                    <a:pt x="7089" y="1229"/>
                  </a:moveTo>
                  <a:lnTo>
                    <a:pt x="8003" y="2142"/>
                  </a:lnTo>
                  <a:lnTo>
                    <a:pt x="7089" y="2142"/>
                  </a:lnTo>
                  <a:lnTo>
                    <a:pt x="7089" y="1229"/>
                  </a:lnTo>
                  <a:close/>
                  <a:moveTo>
                    <a:pt x="8538" y="6396"/>
                  </a:moveTo>
                  <a:lnTo>
                    <a:pt x="8538" y="6711"/>
                  </a:lnTo>
                  <a:cubicBezTo>
                    <a:pt x="8538" y="6900"/>
                    <a:pt x="8664" y="7057"/>
                    <a:pt x="8885" y="7057"/>
                  </a:cubicBezTo>
                  <a:cubicBezTo>
                    <a:pt x="9074" y="7057"/>
                    <a:pt x="9231" y="6900"/>
                    <a:pt x="9231" y="6711"/>
                  </a:cubicBezTo>
                  <a:lnTo>
                    <a:pt x="9231" y="6427"/>
                  </a:lnTo>
                  <a:cubicBezTo>
                    <a:pt x="10303" y="6585"/>
                    <a:pt x="11153" y="7467"/>
                    <a:pt x="11311" y="8506"/>
                  </a:cubicBezTo>
                  <a:lnTo>
                    <a:pt x="10996" y="8506"/>
                  </a:lnTo>
                  <a:cubicBezTo>
                    <a:pt x="10807" y="8506"/>
                    <a:pt x="10649" y="8664"/>
                    <a:pt x="10649" y="8884"/>
                  </a:cubicBezTo>
                  <a:cubicBezTo>
                    <a:pt x="10649" y="9073"/>
                    <a:pt x="10807" y="9231"/>
                    <a:pt x="10996" y="9231"/>
                  </a:cubicBezTo>
                  <a:lnTo>
                    <a:pt x="11311" y="9231"/>
                  </a:lnTo>
                  <a:cubicBezTo>
                    <a:pt x="11153" y="10302"/>
                    <a:pt x="10303" y="11121"/>
                    <a:pt x="9231" y="11279"/>
                  </a:cubicBezTo>
                  <a:lnTo>
                    <a:pt x="9231" y="10964"/>
                  </a:lnTo>
                  <a:cubicBezTo>
                    <a:pt x="9231" y="10775"/>
                    <a:pt x="9074" y="10617"/>
                    <a:pt x="8885" y="10617"/>
                  </a:cubicBezTo>
                  <a:cubicBezTo>
                    <a:pt x="8664" y="10617"/>
                    <a:pt x="8538" y="10775"/>
                    <a:pt x="8538" y="10964"/>
                  </a:cubicBezTo>
                  <a:lnTo>
                    <a:pt x="8538" y="11279"/>
                  </a:lnTo>
                  <a:cubicBezTo>
                    <a:pt x="7467" y="11121"/>
                    <a:pt x="6585" y="10239"/>
                    <a:pt x="6428" y="9200"/>
                  </a:cubicBezTo>
                  <a:lnTo>
                    <a:pt x="6743" y="9200"/>
                  </a:lnTo>
                  <a:cubicBezTo>
                    <a:pt x="6963" y="9200"/>
                    <a:pt x="7089" y="9042"/>
                    <a:pt x="7089" y="8821"/>
                  </a:cubicBezTo>
                  <a:cubicBezTo>
                    <a:pt x="7089" y="8632"/>
                    <a:pt x="6963" y="8475"/>
                    <a:pt x="6743" y="8475"/>
                  </a:cubicBezTo>
                  <a:lnTo>
                    <a:pt x="6428" y="8475"/>
                  </a:lnTo>
                  <a:cubicBezTo>
                    <a:pt x="6585" y="7404"/>
                    <a:pt x="7467" y="6553"/>
                    <a:pt x="8538" y="6396"/>
                  </a:cubicBezTo>
                  <a:close/>
                  <a:moveTo>
                    <a:pt x="6428" y="725"/>
                  </a:moveTo>
                  <a:lnTo>
                    <a:pt x="6428" y="2489"/>
                  </a:lnTo>
                  <a:cubicBezTo>
                    <a:pt x="6428" y="2678"/>
                    <a:pt x="6585" y="2836"/>
                    <a:pt x="6774" y="2836"/>
                  </a:cubicBezTo>
                  <a:lnTo>
                    <a:pt x="8570" y="2836"/>
                  </a:lnTo>
                  <a:lnTo>
                    <a:pt x="8570" y="5734"/>
                  </a:lnTo>
                  <a:cubicBezTo>
                    <a:pt x="6995" y="5892"/>
                    <a:pt x="5766" y="7246"/>
                    <a:pt x="5766" y="8884"/>
                  </a:cubicBezTo>
                  <a:cubicBezTo>
                    <a:pt x="5766" y="9861"/>
                    <a:pt x="6238" y="10775"/>
                    <a:pt x="6932" y="11310"/>
                  </a:cubicBezTo>
                  <a:lnTo>
                    <a:pt x="757" y="11310"/>
                  </a:lnTo>
                  <a:lnTo>
                    <a:pt x="757" y="725"/>
                  </a:lnTo>
                  <a:close/>
                  <a:moveTo>
                    <a:pt x="379" y="0"/>
                  </a:moveTo>
                  <a:cubicBezTo>
                    <a:pt x="158" y="0"/>
                    <a:pt x="0" y="158"/>
                    <a:pt x="0" y="378"/>
                  </a:cubicBezTo>
                  <a:lnTo>
                    <a:pt x="0" y="11657"/>
                  </a:lnTo>
                  <a:cubicBezTo>
                    <a:pt x="0" y="11877"/>
                    <a:pt x="158" y="12035"/>
                    <a:pt x="379" y="12035"/>
                  </a:cubicBezTo>
                  <a:lnTo>
                    <a:pt x="8822" y="12035"/>
                  </a:lnTo>
                  <a:cubicBezTo>
                    <a:pt x="10555" y="12035"/>
                    <a:pt x="11972" y="10617"/>
                    <a:pt x="11972" y="8884"/>
                  </a:cubicBezTo>
                  <a:cubicBezTo>
                    <a:pt x="12035" y="7215"/>
                    <a:pt x="10807" y="5892"/>
                    <a:pt x="9231" y="5734"/>
                  </a:cubicBezTo>
                  <a:lnTo>
                    <a:pt x="9231" y="2489"/>
                  </a:lnTo>
                  <a:cubicBezTo>
                    <a:pt x="9231" y="2426"/>
                    <a:pt x="9200" y="2300"/>
                    <a:pt x="9105" y="2268"/>
                  </a:cubicBezTo>
                  <a:lnTo>
                    <a:pt x="6995" y="126"/>
                  </a:lnTo>
                  <a:cubicBezTo>
                    <a:pt x="6900" y="63"/>
                    <a:pt x="6837" y="0"/>
                    <a:pt x="674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1" name="Google Shape;6486;p56">
              <a:extLst>
                <a:ext uri="{FF2B5EF4-FFF2-40B4-BE49-F238E27FC236}">
                  <a16:creationId xmlns:a16="http://schemas.microsoft.com/office/drawing/2014/main" id="{AB75E25B-6360-42CA-8ABF-0AD2E99C0036}"/>
                </a:ext>
              </a:extLst>
            </p:cNvPr>
            <p:cNvSpPr/>
            <p:nvPr/>
          </p:nvSpPr>
          <p:spPr>
            <a:xfrm>
              <a:off x="-46946075" y="2537325"/>
              <a:ext cx="35450" cy="35475"/>
            </a:xfrm>
            <a:custGeom>
              <a:avLst/>
              <a:gdLst/>
              <a:ahLst/>
              <a:cxnLst/>
              <a:rect l="l" t="t" r="r" b="b"/>
              <a:pathLst>
                <a:path w="1418" h="1419" extrusionOk="0">
                  <a:moveTo>
                    <a:pt x="347" y="0"/>
                  </a:moveTo>
                  <a:cubicBezTo>
                    <a:pt x="158" y="0"/>
                    <a:pt x="0" y="158"/>
                    <a:pt x="0" y="347"/>
                  </a:cubicBezTo>
                  <a:lnTo>
                    <a:pt x="0" y="1071"/>
                  </a:lnTo>
                  <a:cubicBezTo>
                    <a:pt x="0" y="1260"/>
                    <a:pt x="158" y="1418"/>
                    <a:pt x="347" y="1418"/>
                  </a:cubicBezTo>
                  <a:lnTo>
                    <a:pt x="1040" y="1418"/>
                  </a:lnTo>
                  <a:cubicBezTo>
                    <a:pt x="1261" y="1418"/>
                    <a:pt x="1418" y="1260"/>
                    <a:pt x="1418" y="1071"/>
                  </a:cubicBezTo>
                  <a:cubicBezTo>
                    <a:pt x="1387" y="851"/>
                    <a:pt x="1261" y="693"/>
                    <a:pt x="1040" y="693"/>
                  </a:cubicBezTo>
                  <a:lnTo>
                    <a:pt x="693" y="693"/>
                  </a:lnTo>
                  <a:lnTo>
                    <a:pt x="693" y="347"/>
                  </a:lnTo>
                  <a:cubicBezTo>
                    <a:pt x="693" y="158"/>
                    <a:pt x="536" y="0"/>
                    <a:pt x="34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2" name="Google Shape;6487;p56">
              <a:extLst>
                <a:ext uri="{FF2B5EF4-FFF2-40B4-BE49-F238E27FC236}">
                  <a16:creationId xmlns:a16="http://schemas.microsoft.com/office/drawing/2014/main" id="{91226068-7BF6-434B-BDBF-CCA46609DA27}"/>
                </a:ext>
              </a:extLst>
            </p:cNvPr>
            <p:cNvSpPr/>
            <p:nvPr/>
          </p:nvSpPr>
          <p:spPr>
            <a:xfrm>
              <a:off x="-47122500" y="253732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488;p56">
              <a:extLst>
                <a:ext uri="{FF2B5EF4-FFF2-40B4-BE49-F238E27FC236}">
                  <a16:creationId xmlns:a16="http://schemas.microsoft.com/office/drawing/2014/main" id="{4F4DAD6C-57AC-4BB8-A459-E0B58EB486F7}"/>
                </a:ext>
              </a:extLst>
            </p:cNvPr>
            <p:cNvSpPr/>
            <p:nvPr/>
          </p:nvSpPr>
          <p:spPr>
            <a:xfrm>
              <a:off x="-47122500" y="257277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68" name="Google Shape;6444;p56">
            <a:extLst>
              <a:ext uri="{FF2B5EF4-FFF2-40B4-BE49-F238E27FC236}">
                <a16:creationId xmlns:a16="http://schemas.microsoft.com/office/drawing/2014/main" id="{94F0FFEC-0124-4CD5-BDD8-F2160F8423F4}"/>
              </a:ext>
            </a:extLst>
          </p:cNvPr>
          <p:cNvGrpSpPr/>
          <p:nvPr/>
        </p:nvGrpSpPr>
        <p:grpSpPr>
          <a:xfrm>
            <a:off x="731838" y="5611234"/>
            <a:ext cx="516584" cy="499420"/>
            <a:chOff x="-47527350" y="2747625"/>
            <a:chExt cx="300100" cy="228425"/>
          </a:xfrm>
          <a:solidFill>
            <a:schemeClr val="tx1"/>
          </a:solidFill>
        </p:grpSpPr>
        <p:sp>
          <p:nvSpPr>
            <p:cNvPr id="69" name="Google Shape;6445;p56">
              <a:extLst>
                <a:ext uri="{FF2B5EF4-FFF2-40B4-BE49-F238E27FC236}">
                  <a16:creationId xmlns:a16="http://schemas.microsoft.com/office/drawing/2014/main" id="{24791EB0-0D9D-47D0-B872-62EB22B29B7B}"/>
                </a:ext>
              </a:extLst>
            </p:cNvPr>
            <p:cNvSpPr/>
            <p:nvPr/>
          </p:nvSpPr>
          <p:spPr>
            <a:xfrm>
              <a:off x="-47475350" y="2782275"/>
              <a:ext cx="124450" cy="124475"/>
            </a:xfrm>
            <a:custGeom>
              <a:avLst/>
              <a:gdLst/>
              <a:ahLst/>
              <a:cxnLst/>
              <a:rect l="l" t="t" r="r" b="b"/>
              <a:pathLst>
                <a:path w="4978" h="4979" extrusionOk="0">
                  <a:moveTo>
                    <a:pt x="2804" y="2080"/>
                  </a:moveTo>
                  <a:cubicBezTo>
                    <a:pt x="2678" y="2395"/>
                    <a:pt x="2457" y="2647"/>
                    <a:pt x="2174" y="2710"/>
                  </a:cubicBezTo>
                  <a:lnTo>
                    <a:pt x="2174" y="2080"/>
                  </a:lnTo>
                  <a:close/>
                  <a:moveTo>
                    <a:pt x="1827" y="725"/>
                  </a:moveTo>
                  <a:cubicBezTo>
                    <a:pt x="2300" y="725"/>
                    <a:pt x="2678" y="977"/>
                    <a:pt x="2804" y="1418"/>
                  </a:cubicBezTo>
                  <a:lnTo>
                    <a:pt x="1827" y="1418"/>
                  </a:lnTo>
                  <a:cubicBezTo>
                    <a:pt x="1607" y="1418"/>
                    <a:pt x="1481" y="1576"/>
                    <a:pt x="1481" y="1765"/>
                  </a:cubicBezTo>
                  <a:lnTo>
                    <a:pt x="1481" y="2773"/>
                  </a:lnTo>
                  <a:cubicBezTo>
                    <a:pt x="1071" y="2615"/>
                    <a:pt x="756" y="2206"/>
                    <a:pt x="756" y="1765"/>
                  </a:cubicBezTo>
                  <a:cubicBezTo>
                    <a:pt x="756" y="1197"/>
                    <a:pt x="1229" y="725"/>
                    <a:pt x="1827" y="725"/>
                  </a:cubicBezTo>
                  <a:close/>
                  <a:moveTo>
                    <a:pt x="4253" y="2080"/>
                  </a:moveTo>
                  <a:lnTo>
                    <a:pt x="4253" y="4222"/>
                  </a:lnTo>
                  <a:lnTo>
                    <a:pt x="2142" y="4222"/>
                  </a:lnTo>
                  <a:lnTo>
                    <a:pt x="2142" y="3466"/>
                  </a:lnTo>
                  <a:cubicBezTo>
                    <a:pt x="2804" y="3308"/>
                    <a:pt x="3371" y="2804"/>
                    <a:pt x="3529" y="2080"/>
                  </a:cubicBezTo>
                  <a:close/>
                  <a:moveTo>
                    <a:pt x="1764" y="0"/>
                  </a:moveTo>
                  <a:cubicBezTo>
                    <a:pt x="788" y="0"/>
                    <a:pt x="0" y="788"/>
                    <a:pt x="0" y="1765"/>
                  </a:cubicBezTo>
                  <a:cubicBezTo>
                    <a:pt x="0" y="2647"/>
                    <a:pt x="599" y="3340"/>
                    <a:pt x="1418" y="3497"/>
                  </a:cubicBezTo>
                  <a:lnTo>
                    <a:pt x="1418" y="4600"/>
                  </a:lnTo>
                  <a:cubicBezTo>
                    <a:pt x="1418" y="4821"/>
                    <a:pt x="1575" y="4978"/>
                    <a:pt x="1764" y="4978"/>
                  </a:cubicBezTo>
                  <a:lnTo>
                    <a:pt x="4568" y="4978"/>
                  </a:lnTo>
                  <a:cubicBezTo>
                    <a:pt x="4757" y="4978"/>
                    <a:pt x="4915" y="4821"/>
                    <a:pt x="4915" y="4600"/>
                  </a:cubicBezTo>
                  <a:lnTo>
                    <a:pt x="4915" y="1828"/>
                  </a:lnTo>
                  <a:cubicBezTo>
                    <a:pt x="4978" y="1576"/>
                    <a:pt x="4820" y="1418"/>
                    <a:pt x="4600" y="1418"/>
                  </a:cubicBezTo>
                  <a:lnTo>
                    <a:pt x="3497" y="1418"/>
                  </a:lnTo>
                  <a:cubicBezTo>
                    <a:pt x="3340" y="630"/>
                    <a:pt x="2646" y="0"/>
                    <a:pt x="176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0" name="Google Shape;6446;p56">
              <a:extLst>
                <a:ext uri="{FF2B5EF4-FFF2-40B4-BE49-F238E27FC236}">
                  <a16:creationId xmlns:a16="http://schemas.microsoft.com/office/drawing/2014/main" id="{828033A0-6B40-4C09-A5BC-A3FDA4ED6F3B}"/>
                </a:ext>
              </a:extLst>
            </p:cNvPr>
            <p:cNvSpPr/>
            <p:nvPr/>
          </p:nvSpPr>
          <p:spPr>
            <a:xfrm>
              <a:off x="-47333600" y="278227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1" name="Google Shape;6447;p56">
              <a:extLst>
                <a:ext uri="{FF2B5EF4-FFF2-40B4-BE49-F238E27FC236}">
                  <a16:creationId xmlns:a16="http://schemas.microsoft.com/office/drawing/2014/main" id="{280CB253-BAF8-4AAD-9AF6-82DAE001900C}"/>
                </a:ext>
              </a:extLst>
            </p:cNvPr>
            <p:cNvSpPr/>
            <p:nvPr/>
          </p:nvSpPr>
          <p:spPr>
            <a:xfrm>
              <a:off x="-47333600" y="281772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2" name="Google Shape;6448;p56">
              <a:extLst>
                <a:ext uri="{FF2B5EF4-FFF2-40B4-BE49-F238E27FC236}">
                  <a16:creationId xmlns:a16="http://schemas.microsoft.com/office/drawing/2014/main" id="{94FD6AB9-4A8E-4F96-8ED0-338B3B6086A1}"/>
                </a:ext>
              </a:extLst>
            </p:cNvPr>
            <p:cNvSpPr/>
            <p:nvPr/>
          </p:nvSpPr>
          <p:spPr>
            <a:xfrm>
              <a:off x="-47333600" y="2852375"/>
              <a:ext cx="53600" cy="17350"/>
            </a:xfrm>
            <a:custGeom>
              <a:avLst/>
              <a:gdLst/>
              <a:ahLst/>
              <a:cxnLst/>
              <a:rect l="l" t="t" r="r" b="b"/>
              <a:pathLst>
                <a:path w="2144" h="694" extrusionOk="0">
                  <a:moveTo>
                    <a:pt x="347" y="0"/>
                  </a:moveTo>
                  <a:cubicBezTo>
                    <a:pt x="158" y="0"/>
                    <a:pt x="1" y="158"/>
                    <a:pt x="1" y="347"/>
                  </a:cubicBezTo>
                  <a:cubicBezTo>
                    <a:pt x="1" y="536"/>
                    <a:pt x="158" y="693"/>
                    <a:pt x="347" y="693"/>
                  </a:cubicBezTo>
                  <a:lnTo>
                    <a:pt x="1797" y="693"/>
                  </a:lnTo>
                  <a:cubicBezTo>
                    <a:pt x="1986" y="693"/>
                    <a:pt x="2143" y="536"/>
                    <a:pt x="2143" y="347"/>
                  </a:cubicBezTo>
                  <a:cubicBezTo>
                    <a:pt x="2143" y="158"/>
                    <a:pt x="1986" y="0"/>
                    <a:pt x="179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449;p56">
              <a:extLst>
                <a:ext uri="{FF2B5EF4-FFF2-40B4-BE49-F238E27FC236}">
                  <a16:creationId xmlns:a16="http://schemas.microsoft.com/office/drawing/2014/main" id="{C0384531-58BD-418C-8071-961BCA7B7A6A}"/>
                </a:ext>
              </a:extLst>
            </p:cNvPr>
            <p:cNvSpPr/>
            <p:nvPr/>
          </p:nvSpPr>
          <p:spPr>
            <a:xfrm>
              <a:off x="-47333600" y="2887800"/>
              <a:ext cx="53600" cy="17375"/>
            </a:xfrm>
            <a:custGeom>
              <a:avLst/>
              <a:gdLst/>
              <a:ahLst/>
              <a:cxnLst/>
              <a:rect l="l" t="t" r="r" b="b"/>
              <a:pathLst>
                <a:path w="2144" h="695" extrusionOk="0">
                  <a:moveTo>
                    <a:pt x="347" y="1"/>
                  </a:moveTo>
                  <a:cubicBezTo>
                    <a:pt x="158" y="1"/>
                    <a:pt x="1" y="158"/>
                    <a:pt x="1" y="347"/>
                  </a:cubicBezTo>
                  <a:cubicBezTo>
                    <a:pt x="1" y="537"/>
                    <a:pt x="158" y="694"/>
                    <a:pt x="347" y="694"/>
                  </a:cubicBezTo>
                  <a:lnTo>
                    <a:pt x="1797" y="694"/>
                  </a:lnTo>
                  <a:cubicBezTo>
                    <a:pt x="1986" y="694"/>
                    <a:pt x="2143" y="537"/>
                    <a:pt x="2143" y="347"/>
                  </a:cubicBezTo>
                  <a:cubicBezTo>
                    <a:pt x="2143" y="158"/>
                    <a:pt x="1986" y="1"/>
                    <a:pt x="179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6450;p56">
              <a:extLst>
                <a:ext uri="{FF2B5EF4-FFF2-40B4-BE49-F238E27FC236}">
                  <a16:creationId xmlns:a16="http://schemas.microsoft.com/office/drawing/2014/main" id="{8778E7E9-D0F1-45C8-A544-37709107372F}"/>
                </a:ext>
              </a:extLst>
            </p:cNvPr>
            <p:cNvSpPr/>
            <p:nvPr/>
          </p:nvSpPr>
          <p:spPr>
            <a:xfrm>
              <a:off x="-47527350" y="2747625"/>
              <a:ext cx="300100" cy="228425"/>
            </a:xfrm>
            <a:custGeom>
              <a:avLst/>
              <a:gdLst/>
              <a:ahLst/>
              <a:cxnLst/>
              <a:rect l="l" t="t" r="r" b="b"/>
              <a:pathLst>
                <a:path w="12004" h="9137" extrusionOk="0">
                  <a:moveTo>
                    <a:pt x="10586" y="693"/>
                  </a:moveTo>
                  <a:lnTo>
                    <a:pt x="10586" y="7026"/>
                  </a:lnTo>
                  <a:lnTo>
                    <a:pt x="1418" y="7026"/>
                  </a:lnTo>
                  <a:lnTo>
                    <a:pt x="1418" y="693"/>
                  </a:lnTo>
                  <a:close/>
                  <a:moveTo>
                    <a:pt x="11311" y="7687"/>
                  </a:moveTo>
                  <a:lnTo>
                    <a:pt x="11311" y="8412"/>
                  </a:lnTo>
                  <a:lnTo>
                    <a:pt x="725" y="8412"/>
                  </a:lnTo>
                  <a:lnTo>
                    <a:pt x="725" y="7687"/>
                  </a:lnTo>
                  <a:close/>
                  <a:moveTo>
                    <a:pt x="1072" y="0"/>
                  </a:moveTo>
                  <a:cubicBezTo>
                    <a:pt x="883" y="0"/>
                    <a:pt x="725" y="158"/>
                    <a:pt x="725" y="378"/>
                  </a:cubicBezTo>
                  <a:lnTo>
                    <a:pt x="725" y="7026"/>
                  </a:lnTo>
                  <a:lnTo>
                    <a:pt x="347" y="7026"/>
                  </a:lnTo>
                  <a:cubicBezTo>
                    <a:pt x="158" y="7026"/>
                    <a:pt x="1" y="7183"/>
                    <a:pt x="1" y="7372"/>
                  </a:cubicBezTo>
                  <a:lnTo>
                    <a:pt x="1" y="8790"/>
                  </a:lnTo>
                  <a:cubicBezTo>
                    <a:pt x="1" y="8979"/>
                    <a:pt x="158" y="9136"/>
                    <a:pt x="347" y="9136"/>
                  </a:cubicBezTo>
                  <a:lnTo>
                    <a:pt x="11658" y="9136"/>
                  </a:lnTo>
                  <a:cubicBezTo>
                    <a:pt x="11847" y="9136"/>
                    <a:pt x="12004" y="8979"/>
                    <a:pt x="12004" y="8790"/>
                  </a:cubicBezTo>
                  <a:lnTo>
                    <a:pt x="12004" y="7372"/>
                  </a:lnTo>
                  <a:cubicBezTo>
                    <a:pt x="12004" y="7183"/>
                    <a:pt x="11847" y="7026"/>
                    <a:pt x="11658" y="7026"/>
                  </a:cubicBezTo>
                  <a:lnTo>
                    <a:pt x="11311" y="7026"/>
                  </a:lnTo>
                  <a:lnTo>
                    <a:pt x="11311" y="378"/>
                  </a:lnTo>
                  <a:cubicBezTo>
                    <a:pt x="11311" y="158"/>
                    <a:pt x="11153" y="0"/>
                    <a:pt x="1096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76" name="Google Shape;6480;p56">
            <a:extLst>
              <a:ext uri="{FF2B5EF4-FFF2-40B4-BE49-F238E27FC236}">
                <a16:creationId xmlns:a16="http://schemas.microsoft.com/office/drawing/2014/main" id="{83F48EEB-39FB-4F1A-B019-2DCD78B9C826}"/>
              </a:ext>
            </a:extLst>
          </p:cNvPr>
          <p:cNvGrpSpPr/>
          <p:nvPr/>
        </p:nvGrpSpPr>
        <p:grpSpPr>
          <a:xfrm>
            <a:off x="6618029" y="3170708"/>
            <a:ext cx="503740" cy="495684"/>
            <a:chOff x="-47160325" y="1974175"/>
            <a:chExt cx="301700" cy="300100"/>
          </a:xfrm>
          <a:solidFill>
            <a:schemeClr val="tx1"/>
          </a:solidFill>
        </p:grpSpPr>
        <p:sp>
          <p:nvSpPr>
            <p:cNvPr id="82" name="Google Shape;6481;p56">
              <a:extLst>
                <a:ext uri="{FF2B5EF4-FFF2-40B4-BE49-F238E27FC236}">
                  <a16:creationId xmlns:a16="http://schemas.microsoft.com/office/drawing/2014/main" id="{D814505C-150F-4724-A304-E320C7DC299E}"/>
                </a:ext>
              </a:extLst>
            </p:cNvPr>
            <p:cNvSpPr/>
            <p:nvPr/>
          </p:nvSpPr>
          <p:spPr>
            <a:xfrm>
              <a:off x="-47160325" y="1974175"/>
              <a:ext cx="301700" cy="300100"/>
            </a:xfrm>
            <a:custGeom>
              <a:avLst/>
              <a:gdLst/>
              <a:ahLst/>
              <a:cxnLst/>
              <a:rect l="l" t="t" r="r" b="b"/>
              <a:pathLst>
                <a:path w="12068" h="12004" extrusionOk="0">
                  <a:moveTo>
                    <a:pt x="8539" y="1166"/>
                  </a:moveTo>
                  <a:lnTo>
                    <a:pt x="9452" y="2080"/>
                  </a:lnTo>
                  <a:lnTo>
                    <a:pt x="8539" y="2080"/>
                  </a:lnTo>
                  <a:lnTo>
                    <a:pt x="8539" y="1166"/>
                  </a:lnTo>
                  <a:close/>
                  <a:moveTo>
                    <a:pt x="7846" y="693"/>
                  </a:moveTo>
                  <a:lnTo>
                    <a:pt x="7846" y="2489"/>
                  </a:lnTo>
                  <a:cubicBezTo>
                    <a:pt x="7846" y="2678"/>
                    <a:pt x="8003" y="2836"/>
                    <a:pt x="8192" y="2836"/>
                  </a:cubicBezTo>
                  <a:lnTo>
                    <a:pt x="9957" y="2836"/>
                  </a:lnTo>
                  <a:lnTo>
                    <a:pt x="9957" y="4254"/>
                  </a:lnTo>
                  <a:lnTo>
                    <a:pt x="4916" y="4254"/>
                  </a:lnTo>
                  <a:lnTo>
                    <a:pt x="4538" y="3434"/>
                  </a:lnTo>
                  <a:cubicBezTo>
                    <a:pt x="4349" y="3056"/>
                    <a:pt x="3971" y="2836"/>
                    <a:pt x="3593" y="2836"/>
                  </a:cubicBezTo>
                  <a:lnTo>
                    <a:pt x="2206" y="2836"/>
                  </a:lnTo>
                  <a:lnTo>
                    <a:pt x="2206" y="693"/>
                  </a:lnTo>
                  <a:close/>
                  <a:moveTo>
                    <a:pt x="3561" y="3529"/>
                  </a:moveTo>
                  <a:cubicBezTo>
                    <a:pt x="3656" y="3529"/>
                    <a:pt x="3782" y="3623"/>
                    <a:pt x="3876" y="3718"/>
                  </a:cubicBezTo>
                  <a:lnTo>
                    <a:pt x="4380" y="4758"/>
                  </a:lnTo>
                  <a:cubicBezTo>
                    <a:pt x="4443" y="4884"/>
                    <a:pt x="4569" y="4947"/>
                    <a:pt x="4695" y="4947"/>
                  </a:cubicBezTo>
                  <a:lnTo>
                    <a:pt x="11028" y="4947"/>
                  </a:lnTo>
                  <a:cubicBezTo>
                    <a:pt x="11248" y="4947"/>
                    <a:pt x="11406" y="5104"/>
                    <a:pt x="11406" y="5293"/>
                  </a:cubicBezTo>
                  <a:lnTo>
                    <a:pt x="11406" y="10933"/>
                  </a:lnTo>
                  <a:lnTo>
                    <a:pt x="11343" y="10933"/>
                  </a:lnTo>
                  <a:cubicBezTo>
                    <a:pt x="11343" y="11153"/>
                    <a:pt x="11185" y="11311"/>
                    <a:pt x="10996" y="11311"/>
                  </a:cubicBezTo>
                  <a:lnTo>
                    <a:pt x="1104" y="11311"/>
                  </a:lnTo>
                  <a:cubicBezTo>
                    <a:pt x="915" y="11311"/>
                    <a:pt x="757" y="11153"/>
                    <a:pt x="757" y="10933"/>
                  </a:cubicBezTo>
                  <a:lnTo>
                    <a:pt x="757" y="3875"/>
                  </a:lnTo>
                  <a:cubicBezTo>
                    <a:pt x="757" y="3686"/>
                    <a:pt x="915" y="3529"/>
                    <a:pt x="1104" y="3529"/>
                  </a:cubicBezTo>
                  <a:close/>
                  <a:moveTo>
                    <a:pt x="1797" y="0"/>
                  </a:moveTo>
                  <a:cubicBezTo>
                    <a:pt x="1576" y="0"/>
                    <a:pt x="1419" y="158"/>
                    <a:pt x="1419" y="347"/>
                  </a:cubicBezTo>
                  <a:lnTo>
                    <a:pt x="1419" y="2836"/>
                  </a:lnTo>
                  <a:lnTo>
                    <a:pt x="1072" y="2836"/>
                  </a:lnTo>
                  <a:cubicBezTo>
                    <a:pt x="474" y="2836"/>
                    <a:pt x="1" y="3308"/>
                    <a:pt x="1" y="3907"/>
                  </a:cubicBezTo>
                  <a:lnTo>
                    <a:pt x="1" y="10933"/>
                  </a:lnTo>
                  <a:cubicBezTo>
                    <a:pt x="1" y="11531"/>
                    <a:pt x="474" y="12004"/>
                    <a:pt x="1072" y="12004"/>
                  </a:cubicBezTo>
                  <a:lnTo>
                    <a:pt x="10965" y="12004"/>
                  </a:lnTo>
                  <a:cubicBezTo>
                    <a:pt x="11563" y="12004"/>
                    <a:pt x="12036" y="11531"/>
                    <a:pt x="12036" y="10933"/>
                  </a:cubicBezTo>
                  <a:lnTo>
                    <a:pt x="12036" y="5325"/>
                  </a:lnTo>
                  <a:cubicBezTo>
                    <a:pt x="12067" y="4726"/>
                    <a:pt x="11595" y="4254"/>
                    <a:pt x="10996" y="4254"/>
                  </a:cubicBezTo>
                  <a:lnTo>
                    <a:pt x="10650" y="4254"/>
                  </a:lnTo>
                  <a:lnTo>
                    <a:pt x="10650" y="2489"/>
                  </a:lnTo>
                  <a:cubicBezTo>
                    <a:pt x="10650" y="2395"/>
                    <a:pt x="10618" y="2269"/>
                    <a:pt x="10524" y="2237"/>
                  </a:cubicBezTo>
                  <a:lnTo>
                    <a:pt x="8413" y="126"/>
                  </a:lnTo>
                  <a:cubicBezTo>
                    <a:pt x="8318" y="32"/>
                    <a:pt x="8255" y="0"/>
                    <a:pt x="816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3" name="Google Shape;6482;p56">
              <a:extLst>
                <a:ext uri="{FF2B5EF4-FFF2-40B4-BE49-F238E27FC236}">
                  <a16:creationId xmlns:a16="http://schemas.microsoft.com/office/drawing/2014/main" id="{67241EB5-8B94-4951-8DFA-A71B18DA68EC}"/>
                </a:ext>
              </a:extLst>
            </p:cNvPr>
            <p:cNvSpPr/>
            <p:nvPr/>
          </p:nvSpPr>
          <p:spPr>
            <a:xfrm>
              <a:off x="-47070525" y="2115150"/>
              <a:ext cx="123675" cy="123675"/>
            </a:xfrm>
            <a:custGeom>
              <a:avLst/>
              <a:gdLst/>
              <a:ahLst/>
              <a:cxnLst/>
              <a:rect l="l" t="t" r="r" b="b"/>
              <a:pathLst>
                <a:path w="4947" h="4947" extrusionOk="0">
                  <a:moveTo>
                    <a:pt x="1796" y="694"/>
                  </a:moveTo>
                  <a:cubicBezTo>
                    <a:pt x="2269" y="694"/>
                    <a:pt x="2678" y="977"/>
                    <a:pt x="2804" y="1418"/>
                  </a:cubicBezTo>
                  <a:lnTo>
                    <a:pt x="1796" y="1418"/>
                  </a:lnTo>
                  <a:cubicBezTo>
                    <a:pt x="1607" y="1418"/>
                    <a:pt x="1450" y="1576"/>
                    <a:pt x="1450" y="1765"/>
                  </a:cubicBezTo>
                  <a:lnTo>
                    <a:pt x="1450" y="2742"/>
                  </a:lnTo>
                  <a:cubicBezTo>
                    <a:pt x="1009" y="2584"/>
                    <a:pt x="757" y="2175"/>
                    <a:pt x="757" y="1765"/>
                  </a:cubicBezTo>
                  <a:cubicBezTo>
                    <a:pt x="757" y="1166"/>
                    <a:pt x="1229" y="694"/>
                    <a:pt x="1796" y="694"/>
                  </a:cubicBezTo>
                  <a:close/>
                  <a:moveTo>
                    <a:pt x="2804" y="2112"/>
                  </a:moveTo>
                  <a:cubicBezTo>
                    <a:pt x="2678" y="2427"/>
                    <a:pt x="2426" y="2679"/>
                    <a:pt x="2174" y="2742"/>
                  </a:cubicBezTo>
                  <a:lnTo>
                    <a:pt x="2174" y="2112"/>
                  </a:lnTo>
                  <a:close/>
                  <a:moveTo>
                    <a:pt x="4254" y="2080"/>
                  </a:moveTo>
                  <a:lnTo>
                    <a:pt x="4254" y="4191"/>
                  </a:lnTo>
                  <a:lnTo>
                    <a:pt x="2143" y="4191"/>
                  </a:lnTo>
                  <a:lnTo>
                    <a:pt x="2143" y="3466"/>
                  </a:lnTo>
                  <a:cubicBezTo>
                    <a:pt x="2804" y="3309"/>
                    <a:pt x="3340" y="2773"/>
                    <a:pt x="3498" y="2080"/>
                  </a:cubicBezTo>
                  <a:close/>
                  <a:moveTo>
                    <a:pt x="1765" y="1"/>
                  </a:moveTo>
                  <a:cubicBezTo>
                    <a:pt x="788" y="1"/>
                    <a:pt x="1" y="788"/>
                    <a:pt x="1" y="1765"/>
                  </a:cubicBezTo>
                  <a:cubicBezTo>
                    <a:pt x="1" y="2616"/>
                    <a:pt x="599" y="3340"/>
                    <a:pt x="1418" y="3498"/>
                  </a:cubicBezTo>
                  <a:lnTo>
                    <a:pt x="1418" y="4600"/>
                  </a:lnTo>
                  <a:cubicBezTo>
                    <a:pt x="1418" y="4789"/>
                    <a:pt x="1576" y="4947"/>
                    <a:pt x="1765" y="4947"/>
                  </a:cubicBezTo>
                  <a:lnTo>
                    <a:pt x="4569" y="4947"/>
                  </a:lnTo>
                  <a:cubicBezTo>
                    <a:pt x="4758" y="4947"/>
                    <a:pt x="4915" y="4789"/>
                    <a:pt x="4915" y="4600"/>
                  </a:cubicBezTo>
                  <a:lnTo>
                    <a:pt x="4915" y="1797"/>
                  </a:lnTo>
                  <a:cubicBezTo>
                    <a:pt x="4947" y="1576"/>
                    <a:pt x="4789" y="1387"/>
                    <a:pt x="4600" y="1387"/>
                  </a:cubicBezTo>
                  <a:lnTo>
                    <a:pt x="3498" y="1387"/>
                  </a:lnTo>
                  <a:cubicBezTo>
                    <a:pt x="3340" y="599"/>
                    <a:pt x="2647" y="1"/>
                    <a:pt x="17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84" name="Google Shape;5490;p54">
            <a:extLst>
              <a:ext uri="{FF2B5EF4-FFF2-40B4-BE49-F238E27FC236}">
                <a16:creationId xmlns:a16="http://schemas.microsoft.com/office/drawing/2014/main" id="{D7E55750-0195-4B7E-9EE1-F5B70E84EEA8}"/>
              </a:ext>
            </a:extLst>
          </p:cNvPr>
          <p:cNvGrpSpPr/>
          <p:nvPr/>
        </p:nvGrpSpPr>
        <p:grpSpPr>
          <a:xfrm>
            <a:off x="6416641" y="4467413"/>
            <a:ext cx="529282" cy="447488"/>
            <a:chOff x="-61784125" y="1931250"/>
            <a:chExt cx="316650" cy="317050"/>
          </a:xfrm>
          <a:solidFill>
            <a:schemeClr val="tx1"/>
          </a:solidFill>
        </p:grpSpPr>
        <p:sp>
          <p:nvSpPr>
            <p:cNvPr id="85" name="Google Shape;5491;p54">
              <a:extLst>
                <a:ext uri="{FF2B5EF4-FFF2-40B4-BE49-F238E27FC236}">
                  <a16:creationId xmlns:a16="http://schemas.microsoft.com/office/drawing/2014/main" id="{9A0F99F8-E868-4DBB-976E-C96BAE506490}"/>
                </a:ext>
              </a:extLst>
            </p:cNvPr>
            <p:cNvSpPr/>
            <p:nvPr/>
          </p:nvSpPr>
          <p:spPr>
            <a:xfrm>
              <a:off x="-61688025" y="1931250"/>
              <a:ext cx="124450" cy="134300"/>
            </a:xfrm>
            <a:custGeom>
              <a:avLst/>
              <a:gdLst/>
              <a:ahLst/>
              <a:cxnLst/>
              <a:rect l="l" t="t" r="r" b="b"/>
              <a:pathLst>
                <a:path w="4978" h="5372" extrusionOk="0">
                  <a:moveTo>
                    <a:pt x="2497" y="845"/>
                  </a:moveTo>
                  <a:cubicBezTo>
                    <a:pt x="2709" y="845"/>
                    <a:pt x="2922" y="922"/>
                    <a:pt x="3088" y="1087"/>
                  </a:cubicBezTo>
                  <a:cubicBezTo>
                    <a:pt x="3277" y="1276"/>
                    <a:pt x="3340" y="1591"/>
                    <a:pt x="3277" y="1906"/>
                  </a:cubicBezTo>
                  <a:cubicBezTo>
                    <a:pt x="3182" y="2190"/>
                    <a:pt x="2993" y="2410"/>
                    <a:pt x="2709" y="2442"/>
                  </a:cubicBezTo>
                  <a:cubicBezTo>
                    <a:pt x="2625" y="2467"/>
                    <a:pt x="2545" y="2479"/>
                    <a:pt x="2469" y="2479"/>
                  </a:cubicBezTo>
                  <a:cubicBezTo>
                    <a:pt x="2259" y="2479"/>
                    <a:pt x="2075" y="2391"/>
                    <a:pt x="1890" y="2253"/>
                  </a:cubicBezTo>
                  <a:cubicBezTo>
                    <a:pt x="1701" y="2032"/>
                    <a:pt x="1607" y="1717"/>
                    <a:pt x="1701" y="1434"/>
                  </a:cubicBezTo>
                  <a:cubicBezTo>
                    <a:pt x="1800" y="1059"/>
                    <a:pt x="2145" y="845"/>
                    <a:pt x="2497" y="845"/>
                  </a:cubicBezTo>
                  <a:close/>
                  <a:moveTo>
                    <a:pt x="2520" y="3324"/>
                  </a:moveTo>
                  <a:cubicBezTo>
                    <a:pt x="3277" y="3324"/>
                    <a:pt x="3907" y="3828"/>
                    <a:pt x="4096" y="4553"/>
                  </a:cubicBezTo>
                  <a:lnTo>
                    <a:pt x="914" y="4553"/>
                  </a:lnTo>
                  <a:cubicBezTo>
                    <a:pt x="1103" y="3828"/>
                    <a:pt x="1733" y="3324"/>
                    <a:pt x="2520" y="3324"/>
                  </a:cubicBezTo>
                  <a:close/>
                  <a:moveTo>
                    <a:pt x="2510" y="1"/>
                  </a:moveTo>
                  <a:cubicBezTo>
                    <a:pt x="1805" y="1"/>
                    <a:pt x="1113" y="455"/>
                    <a:pt x="914" y="1213"/>
                  </a:cubicBezTo>
                  <a:cubicBezTo>
                    <a:pt x="756" y="1780"/>
                    <a:pt x="914" y="2347"/>
                    <a:pt x="1292" y="2789"/>
                  </a:cubicBezTo>
                  <a:cubicBezTo>
                    <a:pt x="567" y="3198"/>
                    <a:pt x="0" y="3986"/>
                    <a:pt x="0" y="4931"/>
                  </a:cubicBezTo>
                  <a:cubicBezTo>
                    <a:pt x="0" y="5183"/>
                    <a:pt x="189" y="5372"/>
                    <a:pt x="441" y="5372"/>
                  </a:cubicBezTo>
                  <a:lnTo>
                    <a:pt x="4568" y="5372"/>
                  </a:lnTo>
                  <a:cubicBezTo>
                    <a:pt x="4820" y="5372"/>
                    <a:pt x="4978" y="5183"/>
                    <a:pt x="4978" y="4931"/>
                  </a:cubicBezTo>
                  <a:cubicBezTo>
                    <a:pt x="4978" y="3986"/>
                    <a:pt x="4442" y="3198"/>
                    <a:pt x="3718" y="2789"/>
                  </a:cubicBezTo>
                  <a:cubicBezTo>
                    <a:pt x="3907" y="2568"/>
                    <a:pt x="4033" y="2347"/>
                    <a:pt x="4096" y="2064"/>
                  </a:cubicBezTo>
                  <a:cubicBezTo>
                    <a:pt x="4253" y="1528"/>
                    <a:pt x="4096" y="930"/>
                    <a:pt x="3655" y="489"/>
                  </a:cubicBezTo>
                  <a:cubicBezTo>
                    <a:pt x="3331" y="153"/>
                    <a:pt x="2918" y="1"/>
                    <a:pt x="251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6" name="Google Shape;5492;p54">
              <a:extLst>
                <a:ext uri="{FF2B5EF4-FFF2-40B4-BE49-F238E27FC236}">
                  <a16:creationId xmlns:a16="http://schemas.microsoft.com/office/drawing/2014/main" id="{8E844EB9-4C08-4EC5-8608-B941D5403647}"/>
                </a:ext>
              </a:extLst>
            </p:cNvPr>
            <p:cNvSpPr/>
            <p:nvPr/>
          </p:nvSpPr>
          <p:spPr>
            <a:xfrm>
              <a:off x="-61784125" y="2113325"/>
              <a:ext cx="124450" cy="134975"/>
            </a:xfrm>
            <a:custGeom>
              <a:avLst/>
              <a:gdLst/>
              <a:ahLst/>
              <a:cxnLst/>
              <a:rect l="l" t="t" r="r" b="b"/>
              <a:pathLst>
                <a:path w="4978" h="5399"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7" y="2491"/>
                  </a:cubicBezTo>
                  <a:cubicBezTo>
                    <a:pt x="2261" y="2491"/>
                    <a:pt x="2058" y="2415"/>
                    <a:pt x="1891" y="2248"/>
                  </a:cubicBezTo>
                  <a:cubicBezTo>
                    <a:pt x="1670" y="2059"/>
                    <a:pt x="1607" y="1743"/>
                    <a:pt x="1670" y="1428"/>
                  </a:cubicBezTo>
                  <a:cubicBezTo>
                    <a:pt x="1770" y="1068"/>
                    <a:pt x="2124" y="848"/>
                    <a:pt x="2482" y="848"/>
                  </a:cubicBezTo>
                  <a:close/>
                  <a:moveTo>
                    <a:pt x="2458" y="3319"/>
                  </a:moveTo>
                  <a:cubicBezTo>
                    <a:pt x="3245" y="3319"/>
                    <a:pt x="3907" y="3854"/>
                    <a:pt x="4096" y="4547"/>
                  </a:cubicBezTo>
                  <a:lnTo>
                    <a:pt x="883" y="4547"/>
                  </a:lnTo>
                  <a:cubicBezTo>
                    <a:pt x="1040" y="3886"/>
                    <a:pt x="1733" y="3319"/>
                    <a:pt x="2458" y="3319"/>
                  </a:cubicBezTo>
                  <a:close/>
                  <a:moveTo>
                    <a:pt x="2509" y="1"/>
                  </a:moveTo>
                  <a:cubicBezTo>
                    <a:pt x="1812" y="1"/>
                    <a:pt x="1143" y="437"/>
                    <a:pt x="946" y="1208"/>
                  </a:cubicBezTo>
                  <a:cubicBezTo>
                    <a:pt x="788" y="1806"/>
                    <a:pt x="946" y="2342"/>
                    <a:pt x="1324" y="2783"/>
                  </a:cubicBezTo>
                  <a:cubicBezTo>
                    <a:pt x="568" y="3224"/>
                    <a:pt x="32" y="4012"/>
                    <a:pt x="32" y="4957"/>
                  </a:cubicBezTo>
                  <a:cubicBezTo>
                    <a:pt x="0" y="5209"/>
                    <a:pt x="189" y="5398"/>
                    <a:pt x="410" y="5398"/>
                  </a:cubicBezTo>
                  <a:lnTo>
                    <a:pt x="4569" y="5398"/>
                  </a:lnTo>
                  <a:cubicBezTo>
                    <a:pt x="4789" y="5398"/>
                    <a:pt x="4978" y="5209"/>
                    <a:pt x="4978" y="4988"/>
                  </a:cubicBezTo>
                  <a:cubicBezTo>
                    <a:pt x="4978" y="4043"/>
                    <a:pt x="4474" y="3256"/>
                    <a:pt x="3718" y="2815"/>
                  </a:cubicBezTo>
                  <a:cubicBezTo>
                    <a:pt x="3939" y="2626"/>
                    <a:pt x="4033" y="2374"/>
                    <a:pt x="4128" y="2090"/>
                  </a:cubicBezTo>
                  <a:cubicBezTo>
                    <a:pt x="4285" y="1523"/>
                    <a:pt x="4128" y="924"/>
                    <a:pt x="3687" y="483"/>
                  </a:cubicBezTo>
                  <a:cubicBezTo>
                    <a:pt x="3346" y="155"/>
                    <a:pt x="2923" y="1"/>
                    <a:pt x="25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5493;p54">
              <a:extLst>
                <a:ext uri="{FF2B5EF4-FFF2-40B4-BE49-F238E27FC236}">
                  <a16:creationId xmlns:a16="http://schemas.microsoft.com/office/drawing/2014/main" id="{56C9A927-87CA-49D7-8DE5-B1389C6A92EC}"/>
                </a:ext>
              </a:extLst>
            </p:cNvPr>
            <p:cNvSpPr/>
            <p:nvPr/>
          </p:nvSpPr>
          <p:spPr>
            <a:xfrm>
              <a:off x="-61591150" y="2113325"/>
              <a:ext cx="123675" cy="134175"/>
            </a:xfrm>
            <a:custGeom>
              <a:avLst/>
              <a:gdLst/>
              <a:ahLst/>
              <a:cxnLst/>
              <a:rect l="l" t="t" r="r" b="b"/>
              <a:pathLst>
                <a:path w="4947" h="5367"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6" y="2491"/>
                  </a:cubicBezTo>
                  <a:cubicBezTo>
                    <a:pt x="2261" y="2491"/>
                    <a:pt x="2057" y="2415"/>
                    <a:pt x="1890" y="2248"/>
                  </a:cubicBezTo>
                  <a:cubicBezTo>
                    <a:pt x="1670" y="2059"/>
                    <a:pt x="1607" y="1743"/>
                    <a:pt x="1670" y="1428"/>
                  </a:cubicBezTo>
                  <a:cubicBezTo>
                    <a:pt x="1770" y="1068"/>
                    <a:pt x="2124" y="848"/>
                    <a:pt x="2482" y="848"/>
                  </a:cubicBezTo>
                  <a:close/>
                  <a:moveTo>
                    <a:pt x="2521" y="3382"/>
                  </a:moveTo>
                  <a:cubicBezTo>
                    <a:pt x="3308" y="3382"/>
                    <a:pt x="3938" y="3886"/>
                    <a:pt x="4127" y="4579"/>
                  </a:cubicBezTo>
                  <a:lnTo>
                    <a:pt x="882" y="4579"/>
                  </a:lnTo>
                  <a:cubicBezTo>
                    <a:pt x="1103" y="3886"/>
                    <a:pt x="1733" y="3382"/>
                    <a:pt x="2521" y="3382"/>
                  </a:cubicBezTo>
                  <a:close/>
                  <a:moveTo>
                    <a:pt x="2467" y="1"/>
                  </a:moveTo>
                  <a:cubicBezTo>
                    <a:pt x="1761" y="1"/>
                    <a:pt x="1080" y="437"/>
                    <a:pt x="882" y="1208"/>
                  </a:cubicBezTo>
                  <a:cubicBezTo>
                    <a:pt x="725" y="1806"/>
                    <a:pt x="882" y="2342"/>
                    <a:pt x="1292" y="2783"/>
                  </a:cubicBezTo>
                  <a:cubicBezTo>
                    <a:pt x="536" y="3224"/>
                    <a:pt x="0" y="4012"/>
                    <a:pt x="0" y="4957"/>
                  </a:cubicBezTo>
                  <a:cubicBezTo>
                    <a:pt x="0" y="5178"/>
                    <a:pt x="189" y="5367"/>
                    <a:pt x="378" y="5367"/>
                  </a:cubicBezTo>
                  <a:lnTo>
                    <a:pt x="4505" y="5367"/>
                  </a:lnTo>
                  <a:cubicBezTo>
                    <a:pt x="4757" y="5367"/>
                    <a:pt x="4946" y="5178"/>
                    <a:pt x="4946" y="4957"/>
                  </a:cubicBezTo>
                  <a:cubicBezTo>
                    <a:pt x="4946" y="4075"/>
                    <a:pt x="4442" y="3256"/>
                    <a:pt x="3686" y="2815"/>
                  </a:cubicBezTo>
                  <a:cubicBezTo>
                    <a:pt x="3875" y="2626"/>
                    <a:pt x="4001" y="2374"/>
                    <a:pt x="4096" y="2090"/>
                  </a:cubicBezTo>
                  <a:cubicBezTo>
                    <a:pt x="4253" y="1523"/>
                    <a:pt x="4096" y="924"/>
                    <a:pt x="3655" y="483"/>
                  </a:cubicBezTo>
                  <a:cubicBezTo>
                    <a:pt x="3314" y="155"/>
                    <a:pt x="2887" y="1"/>
                    <a:pt x="24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8" name="Google Shape;5494;p54">
              <a:extLst>
                <a:ext uri="{FF2B5EF4-FFF2-40B4-BE49-F238E27FC236}">
                  <a16:creationId xmlns:a16="http://schemas.microsoft.com/office/drawing/2014/main" id="{1078DFDB-12B4-46DA-B976-12D4213C6785}"/>
                </a:ext>
              </a:extLst>
            </p:cNvPr>
            <p:cNvSpPr/>
            <p:nvPr/>
          </p:nvSpPr>
          <p:spPr>
            <a:xfrm>
              <a:off x="-61677800" y="2072225"/>
              <a:ext cx="106350" cy="62450"/>
            </a:xfrm>
            <a:custGeom>
              <a:avLst/>
              <a:gdLst/>
              <a:ahLst/>
              <a:cxnLst/>
              <a:rect l="l" t="t" r="r" b="b"/>
              <a:pathLst>
                <a:path w="4254" h="2498" extrusionOk="0">
                  <a:moveTo>
                    <a:pt x="2096" y="1"/>
                  </a:moveTo>
                  <a:cubicBezTo>
                    <a:pt x="1985" y="1"/>
                    <a:pt x="1875" y="48"/>
                    <a:pt x="1796" y="142"/>
                  </a:cubicBezTo>
                  <a:lnTo>
                    <a:pt x="158" y="1781"/>
                  </a:lnTo>
                  <a:cubicBezTo>
                    <a:pt x="1" y="1938"/>
                    <a:pt x="1" y="2222"/>
                    <a:pt x="158" y="2379"/>
                  </a:cubicBezTo>
                  <a:cubicBezTo>
                    <a:pt x="237" y="2458"/>
                    <a:pt x="339" y="2497"/>
                    <a:pt x="442" y="2497"/>
                  </a:cubicBezTo>
                  <a:cubicBezTo>
                    <a:pt x="544" y="2497"/>
                    <a:pt x="646" y="2458"/>
                    <a:pt x="725" y="2379"/>
                  </a:cubicBezTo>
                  <a:lnTo>
                    <a:pt x="2111" y="993"/>
                  </a:lnTo>
                  <a:lnTo>
                    <a:pt x="3498" y="2379"/>
                  </a:lnTo>
                  <a:cubicBezTo>
                    <a:pt x="3576" y="2458"/>
                    <a:pt x="3687" y="2497"/>
                    <a:pt x="3797" y="2497"/>
                  </a:cubicBezTo>
                  <a:cubicBezTo>
                    <a:pt x="3907" y="2497"/>
                    <a:pt x="4017" y="2458"/>
                    <a:pt x="4096" y="2379"/>
                  </a:cubicBezTo>
                  <a:cubicBezTo>
                    <a:pt x="4254" y="2222"/>
                    <a:pt x="4254" y="1938"/>
                    <a:pt x="4096" y="1781"/>
                  </a:cubicBezTo>
                  <a:lnTo>
                    <a:pt x="2395" y="142"/>
                  </a:lnTo>
                  <a:cubicBezTo>
                    <a:pt x="2316" y="48"/>
                    <a:pt x="2206" y="1"/>
                    <a:pt x="209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95" name="Google Shape;5381;p54">
            <a:extLst>
              <a:ext uri="{FF2B5EF4-FFF2-40B4-BE49-F238E27FC236}">
                <a16:creationId xmlns:a16="http://schemas.microsoft.com/office/drawing/2014/main" id="{48E88B63-1FCD-411D-B421-663E9A1AF3E5}"/>
              </a:ext>
            </a:extLst>
          </p:cNvPr>
          <p:cNvGrpSpPr/>
          <p:nvPr/>
        </p:nvGrpSpPr>
        <p:grpSpPr>
          <a:xfrm>
            <a:off x="731838" y="4328879"/>
            <a:ext cx="534253" cy="471722"/>
            <a:chOff x="-60988625" y="2310475"/>
            <a:chExt cx="316650" cy="311150"/>
          </a:xfrm>
          <a:solidFill>
            <a:schemeClr val="tx1"/>
          </a:solidFill>
        </p:grpSpPr>
        <p:sp>
          <p:nvSpPr>
            <p:cNvPr id="96" name="Google Shape;5382;p54">
              <a:extLst>
                <a:ext uri="{FF2B5EF4-FFF2-40B4-BE49-F238E27FC236}">
                  <a16:creationId xmlns:a16="http://schemas.microsoft.com/office/drawing/2014/main" id="{82D86DBD-18CC-4D4B-9FBB-EF392C4AB871}"/>
                </a:ext>
              </a:extLst>
            </p:cNvPr>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7" name="Google Shape;5383;p54">
              <a:extLst>
                <a:ext uri="{FF2B5EF4-FFF2-40B4-BE49-F238E27FC236}">
                  <a16:creationId xmlns:a16="http://schemas.microsoft.com/office/drawing/2014/main" id="{14ABE932-7FD3-4550-914B-80DEF3BD43E1}"/>
                </a:ext>
              </a:extLst>
            </p:cNvPr>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8" name="Google Shape;5384;p54">
              <a:extLst>
                <a:ext uri="{FF2B5EF4-FFF2-40B4-BE49-F238E27FC236}">
                  <a16:creationId xmlns:a16="http://schemas.microsoft.com/office/drawing/2014/main" id="{074B4677-5A2B-452C-8E78-8BD5AE5D391D}"/>
                </a:ext>
              </a:extLst>
            </p:cNvPr>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9" name="Google Shape;5385;p54">
              <a:extLst>
                <a:ext uri="{FF2B5EF4-FFF2-40B4-BE49-F238E27FC236}">
                  <a16:creationId xmlns:a16="http://schemas.microsoft.com/office/drawing/2014/main" id="{0E19F04B-6D72-48BD-A709-DC8ACE639B0D}"/>
                </a:ext>
              </a:extLst>
            </p:cNvPr>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5386;p54">
              <a:extLst>
                <a:ext uri="{FF2B5EF4-FFF2-40B4-BE49-F238E27FC236}">
                  <a16:creationId xmlns:a16="http://schemas.microsoft.com/office/drawing/2014/main" id="{6D002C25-3A2B-4111-ABED-CBFF397D2394}"/>
                </a:ext>
              </a:extLst>
            </p:cNvPr>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1" name="Google Shape;5387;p54">
              <a:extLst>
                <a:ext uri="{FF2B5EF4-FFF2-40B4-BE49-F238E27FC236}">
                  <a16:creationId xmlns:a16="http://schemas.microsoft.com/office/drawing/2014/main" id="{1F72EDFF-225A-439C-93DE-C28F000EDD09}"/>
                </a:ext>
              </a:extLst>
            </p:cNvPr>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extLst>
      <p:ext uri="{BB962C8B-B14F-4D97-AF65-F5344CB8AC3E}">
        <p14:creationId xmlns:p14="http://schemas.microsoft.com/office/powerpoint/2010/main" val="11467438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Graphic 20">
            <a:extLst>
              <a:ext uri="{FF2B5EF4-FFF2-40B4-BE49-F238E27FC236}">
                <a16:creationId xmlns:a16="http://schemas.microsoft.com/office/drawing/2014/main" id="{A6722032-24A5-4FC5-ADAD-CC4BD07803E4}"/>
              </a:ext>
            </a:extLst>
          </p:cNvPr>
          <p:cNvSpPr/>
          <p:nvPr/>
        </p:nvSpPr>
        <p:spPr>
          <a:xfrm>
            <a:off x="410625" y="1550513"/>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pPr algn="ctr"/>
            <a:r>
              <a:rPr lang="uk-UA" sz="3200" dirty="0" smtClean="0"/>
              <a:t>2</a:t>
            </a:r>
            <a:endParaRPr lang="uk-UA" sz="3200" dirty="0"/>
          </a:p>
        </p:txBody>
      </p:sp>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9582"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22BA6ED9-E631-4C85-A10F-6F61D874DD6E}"/>
              </a:ext>
            </a:extLst>
          </p:cNvPr>
          <p:cNvSpPr>
            <a:spLocks noGrp="1"/>
          </p:cNvSpPr>
          <p:nvPr>
            <p:ph type="body" sz="quarter" idx="11"/>
          </p:nvPr>
        </p:nvSpPr>
        <p:spPr>
          <a:xfrm>
            <a:off x="1869245" y="1297384"/>
            <a:ext cx="9921240" cy="1123554"/>
          </a:xfrm>
        </p:spPr>
        <p:txBody>
          <a:bodyPr/>
          <a:lstStyle/>
          <a:p>
            <a:r>
              <a:rPr lang="uk-UA" altLang="uk-UA" sz="2000" dirty="0">
                <a:solidFill>
                  <a:schemeClr val="accent2"/>
                </a:solidFill>
                <a:latin typeface="+mj-lt"/>
              </a:rPr>
              <a:t>Запровадження в Україні процедур проведення аудиту звітності підприємств зі сталого розвитку та ефективного механізму здійснення контролю якості таких аудиторських послуг</a:t>
            </a:r>
            <a:endParaRPr lang="uk-UA" sz="2000" dirty="0">
              <a:solidFill>
                <a:schemeClr val="accent2"/>
              </a:solidFill>
              <a:latin typeface="+mj-lt"/>
            </a:endParaRPr>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sz="2800" dirty="0">
                <a:solidFill>
                  <a:srgbClr val="0091D7"/>
                </a:solidFill>
              </a:rPr>
              <a:t>Стратегічна ціль </a:t>
            </a:r>
            <a:r>
              <a:rPr lang="uk-UA" sz="2800" dirty="0" smtClean="0">
                <a:solidFill>
                  <a:srgbClr val="0091D7"/>
                </a:solidFill>
              </a:rPr>
              <a:t>2</a:t>
            </a:r>
            <a:r>
              <a:rPr lang="uk-UA" sz="2800" dirty="0" smtClean="0"/>
              <a:t>, </a:t>
            </a:r>
            <a:r>
              <a:rPr lang="uk-UA" sz="2800" dirty="0"/>
              <a:t/>
            </a:r>
            <a:br>
              <a:rPr lang="uk-UA" sz="2800" dirty="0"/>
            </a:br>
            <a:r>
              <a:rPr lang="uk-UA" sz="2800" dirty="0"/>
              <a:t>шляхи досягнення</a:t>
            </a:r>
            <a:endParaRPr lang="en-US" dirty="0"/>
          </a:p>
        </p:txBody>
      </p:sp>
      <p:sp>
        <p:nvSpPr>
          <p:cNvPr id="28" name="Text Placeholder 27">
            <a:extLst>
              <a:ext uri="{FF2B5EF4-FFF2-40B4-BE49-F238E27FC236}">
                <a16:creationId xmlns:a16="http://schemas.microsoft.com/office/drawing/2014/main" id="{D9AC67CC-64B8-4CCF-B227-DAAE2C081C5A}"/>
              </a:ext>
            </a:extLst>
          </p:cNvPr>
          <p:cNvSpPr>
            <a:spLocks noGrp="1"/>
          </p:cNvSpPr>
          <p:nvPr>
            <p:ph type="body" sz="quarter" idx="17"/>
          </p:nvPr>
        </p:nvSpPr>
        <p:spPr>
          <a:xfrm>
            <a:off x="1899138" y="4299439"/>
            <a:ext cx="6897200" cy="1069444"/>
          </a:xfrm>
        </p:spPr>
        <p:txBody>
          <a:bodyPr/>
          <a:lstStyle/>
          <a:p>
            <a:r>
              <a:rPr lang="uk-UA" sz="1400" dirty="0"/>
              <a:t>удосконалення вимог щодо регулювання аудиторської діяльності для забезпечення якісного надання аудиторських послуг із звітності із сталого розвитку відповідно до встановлених міжнародних стандартів</a:t>
            </a:r>
          </a:p>
        </p:txBody>
      </p:sp>
      <p:sp>
        <p:nvSpPr>
          <p:cNvPr id="30" name="Text Placeholder 29">
            <a:extLst>
              <a:ext uri="{FF2B5EF4-FFF2-40B4-BE49-F238E27FC236}">
                <a16:creationId xmlns:a16="http://schemas.microsoft.com/office/drawing/2014/main" id="{C598BAF4-2F18-4F07-982F-9325255E6602}"/>
              </a:ext>
            </a:extLst>
          </p:cNvPr>
          <p:cNvSpPr>
            <a:spLocks noGrp="1"/>
          </p:cNvSpPr>
          <p:nvPr>
            <p:ph type="body" sz="quarter" idx="21"/>
          </p:nvPr>
        </p:nvSpPr>
        <p:spPr>
          <a:xfrm>
            <a:off x="1863969" y="5477259"/>
            <a:ext cx="7359162" cy="1123554"/>
          </a:xfrm>
        </p:spPr>
        <p:txBody>
          <a:bodyPr/>
          <a:lstStyle/>
          <a:p>
            <a:r>
              <a:rPr lang="uk-UA" sz="1400" dirty="0"/>
              <a:t>здійснення організаційних заходів щодо забезпечення підготовки фахівців з проведення аудиту звітності із сталого розвитку та підвищення їх кваліфікації</a:t>
            </a:r>
          </a:p>
        </p:txBody>
      </p:sp>
      <p:sp>
        <p:nvSpPr>
          <p:cNvPr id="12" name="Text Placeholder 11">
            <a:extLst>
              <a:ext uri="{FF2B5EF4-FFF2-40B4-BE49-F238E27FC236}">
                <a16:creationId xmlns:a16="http://schemas.microsoft.com/office/drawing/2014/main" id="{36F2BCF7-16C9-4141-944C-78270B12DACC}"/>
              </a:ext>
            </a:extLst>
          </p:cNvPr>
          <p:cNvSpPr>
            <a:spLocks noGrp="1"/>
          </p:cNvSpPr>
          <p:nvPr>
            <p:ph type="body" sz="quarter" idx="23"/>
          </p:nvPr>
        </p:nvSpPr>
        <p:spPr>
          <a:xfrm>
            <a:off x="1934308" y="2954215"/>
            <a:ext cx="6862030" cy="1089315"/>
          </a:xfrm>
        </p:spPr>
        <p:txBody>
          <a:bodyPr/>
          <a:lstStyle/>
          <a:p>
            <a:r>
              <a:rPr lang="uk-UA" sz="1400" dirty="0" smtClean="0"/>
              <a:t>правового </a:t>
            </a:r>
            <a:r>
              <a:rPr lang="uk-UA" sz="1400" dirty="0"/>
              <a:t>врегулювання питання запровадження стандартів з надання впевненості із звітності із сталого розвитку для використання їх суб’єктами аудиторської діяльності під час виконання відповідних завдань</a:t>
            </a:r>
            <a:endParaRPr lang="ru-RU" sz="1400" dirty="0"/>
          </a:p>
        </p:txBody>
      </p:sp>
      <p:sp>
        <p:nvSpPr>
          <p:cNvPr id="46" name="Graphic 20">
            <a:extLst>
              <a:ext uri="{FF2B5EF4-FFF2-40B4-BE49-F238E27FC236}">
                <a16:creationId xmlns:a16="http://schemas.microsoft.com/office/drawing/2014/main" id="{151FBCBB-58A2-4DE4-B34F-10B5F795818E}"/>
              </a:ext>
            </a:extLst>
          </p:cNvPr>
          <p:cNvSpPr/>
          <p:nvPr/>
        </p:nvSpPr>
        <p:spPr>
          <a:xfrm>
            <a:off x="243572" y="4524297"/>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37" name="Graphic 20">
            <a:extLst>
              <a:ext uri="{FF2B5EF4-FFF2-40B4-BE49-F238E27FC236}">
                <a16:creationId xmlns:a16="http://schemas.microsoft.com/office/drawing/2014/main" id="{8DC6DD33-BF2F-4D80-9098-639C879D4128}"/>
              </a:ext>
            </a:extLst>
          </p:cNvPr>
          <p:cNvSpPr/>
          <p:nvPr/>
        </p:nvSpPr>
        <p:spPr>
          <a:xfrm>
            <a:off x="199611" y="5786303"/>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43" name="Graphic 20">
            <a:extLst>
              <a:ext uri="{FF2B5EF4-FFF2-40B4-BE49-F238E27FC236}">
                <a16:creationId xmlns:a16="http://schemas.microsoft.com/office/drawing/2014/main" id="{C34844F4-2C28-4B8A-BAD3-BC308775302D}"/>
              </a:ext>
            </a:extLst>
          </p:cNvPr>
          <p:cNvSpPr/>
          <p:nvPr/>
        </p:nvSpPr>
        <p:spPr>
          <a:xfrm>
            <a:off x="387084" y="3022499"/>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38" name="Slide Number Placeholder 8">
            <a:extLst>
              <a:ext uri="{FF2B5EF4-FFF2-40B4-BE49-F238E27FC236}">
                <a16:creationId xmlns:a16="http://schemas.microsoft.com/office/drawing/2014/main" id="{88BEC1D9-9EB5-4D3D-BED5-C8C7B77D83E3}"/>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21</a:t>
            </a:fld>
            <a:endParaRPr lang="uk-UA" sz="900" dirty="0">
              <a:latin typeface="+mn-lt"/>
            </a:endParaRPr>
          </a:p>
        </p:txBody>
      </p:sp>
      <p:sp>
        <p:nvSpPr>
          <p:cNvPr id="41" name="Text Placeholder 27">
            <a:extLst>
              <a:ext uri="{FF2B5EF4-FFF2-40B4-BE49-F238E27FC236}">
                <a16:creationId xmlns:a16="http://schemas.microsoft.com/office/drawing/2014/main" id="{D9AC67CC-64B8-4CCF-B227-DAAE2C081C5A}"/>
              </a:ext>
            </a:extLst>
          </p:cNvPr>
          <p:cNvSpPr txBox="1">
            <a:spLocks/>
          </p:cNvSpPr>
          <p:nvPr/>
        </p:nvSpPr>
        <p:spPr>
          <a:xfrm>
            <a:off x="948982" y="2420937"/>
            <a:ext cx="3322956" cy="357431"/>
          </a:xfrm>
          <a:prstGeom prst="rect">
            <a:avLst/>
          </a:prstGeom>
        </p:spPr>
        <p:txBody>
          <a:bodyPr vert="horz" lIns="0" tIns="0" rIns="0" bIns="0" rtlCol="0" anchor="ctr">
            <a:noAutofit/>
          </a:bodyPr>
          <a:lstStyle>
            <a:lvl1pPr marL="0" marR="0" indent="-205740" algn="l" defTabSz="685800" rtl="0" eaLnBrk="1" fontAlgn="auto" latinLnBrk="0" hangingPunct="1">
              <a:lnSpc>
                <a:spcPct val="100000"/>
              </a:lnSpc>
              <a:spcBef>
                <a:spcPts val="0"/>
              </a:spcBef>
              <a:spcAft>
                <a:spcPts val="0"/>
              </a:spcAft>
              <a:buClr>
                <a:schemeClr val="tx1"/>
              </a:buClr>
              <a:buSzTx/>
              <a:buFontTx/>
              <a:buNone/>
              <a:tabLst/>
              <a:defRPr sz="1600" kern="1200">
                <a:solidFill>
                  <a:schemeClr val="tx1"/>
                </a:solidFill>
                <a:latin typeface="+mn-lt"/>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a:solidFill>
                  <a:schemeClr val="tx1"/>
                </a:solidFill>
                <a:latin typeface="e-Ukraine UltraLight" panose="00000500000000000000" pitchFamily="2"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2000" kern="1200" baseline="0">
                <a:solidFill>
                  <a:schemeClr val="tx1"/>
                </a:solidFill>
                <a:latin typeface="e-Ukraine UltraLight" panose="00000500000000000000" pitchFamily="2"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r>
              <a:rPr lang="uk-UA" dirty="0" smtClean="0"/>
              <a:t>Досягається завдяки:</a:t>
            </a:r>
            <a:endParaRPr lang="uk-UA" dirty="0"/>
          </a:p>
        </p:txBody>
      </p:sp>
      <p:grpSp>
        <p:nvGrpSpPr>
          <p:cNvPr id="42" name="Google Shape;6483;p56">
            <a:extLst>
              <a:ext uri="{FF2B5EF4-FFF2-40B4-BE49-F238E27FC236}">
                <a16:creationId xmlns:a16="http://schemas.microsoft.com/office/drawing/2014/main" id="{BFF8CA60-E67A-4B50-A5DC-EFED3451160F}"/>
              </a:ext>
            </a:extLst>
          </p:cNvPr>
          <p:cNvGrpSpPr/>
          <p:nvPr/>
        </p:nvGrpSpPr>
        <p:grpSpPr>
          <a:xfrm>
            <a:off x="842171" y="3038157"/>
            <a:ext cx="517960" cy="517917"/>
            <a:chOff x="-47159525" y="2342000"/>
            <a:chExt cx="300900" cy="300875"/>
          </a:xfrm>
          <a:solidFill>
            <a:schemeClr val="tx1"/>
          </a:solidFill>
        </p:grpSpPr>
        <p:sp>
          <p:nvSpPr>
            <p:cNvPr id="44" name="Google Shape;6484;p56">
              <a:extLst>
                <a:ext uri="{FF2B5EF4-FFF2-40B4-BE49-F238E27FC236}">
                  <a16:creationId xmlns:a16="http://schemas.microsoft.com/office/drawing/2014/main" id="{85429B3E-3438-4A42-96B9-736C3B4490A3}"/>
                </a:ext>
              </a:extLst>
            </p:cNvPr>
            <p:cNvSpPr/>
            <p:nvPr/>
          </p:nvSpPr>
          <p:spPr>
            <a:xfrm>
              <a:off x="-47122500" y="2376650"/>
              <a:ext cx="123675" cy="125250"/>
            </a:xfrm>
            <a:custGeom>
              <a:avLst/>
              <a:gdLst/>
              <a:ahLst/>
              <a:cxnLst/>
              <a:rect l="l" t="t" r="r" b="b"/>
              <a:pathLst>
                <a:path w="4947" h="5010" extrusionOk="0">
                  <a:moveTo>
                    <a:pt x="1765" y="756"/>
                  </a:moveTo>
                  <a:cubicBezTo>
                    <a:pt x="2237" y="756"/>
                    <a:pt x="2615" y="1008"/>
                    <a:pt x="2741" y="1450"/>
                  </a:cubicBezTo>
                  <a:lnTo>
                    <a:pt x="1765" y="1450"/>
                  </a:lnTo>
                  <a:cubicBezTo>
                    <a:pt x="1575" y="1450"/>
                    <a:pt x="1418" y="1607"/>
                    <a:pt x="1418" y="1828"/>
                  </a:cubicBezTo>
                  <a:lnTo>
                    <a:pt x="1418" y="2804"/>
                  </a:lnTo>
                  <a:cubicBezTo>
                    <a:pt x="1008" y="2647"/>
                    <a:pt x="693" y="2237"/>
                    <a:pt x="693" y="1828"/>
                  </a:cubicBezTo>
                  <a:cubicBezTo>
                    <a:pt x="693" y="1229"/>
                    <a:pt x="1166" y="756"/>
                    <a:pt x="1765" y="756"/>
                  </a:cubicBezTo>
                  <a:close/>
                  <a:moveTo>
                    <a:pt x="2741" y="2174"/>
                  </a:moveTo>
                  <a:cubicBezTo>
                    <a:pt x="2615" y="2458"/>
                    <a:pt x="2395" y="2678"/>
                    <a:pt x="2111" y="2804"/>
                  </a:cubicBezTo>
                  <a:lnTo>
                    <a:pt x="2111" y="2174"/>
                  </a:lnTo>
                  <a:close/>
                  <a:moveTo>
                    <a:pt x="4253" y="2143"/>
                  </a:moveTo>
                  <a:lnTo>
                    <a:pt x="4253" y="4285"/>
                  </a:lnTo>
                  <a:lnTo>
                    <a:pt x="2111" y="4285"/>
                  </a:lnTo>
                  <a:lnTo>
                    <a:pt x="2111" y="3497"/>
                  </a:lnTo>
                  <a:cubicBezTo>
                    <a:pt x="2804" y="3340"/>
                    <a:pt x="3340" y="2836"/>
                    <a:pt x="3497" y="2143"/>
                  </a:cubicBezTo>
                  <a:close/>
                  <a:moveTo>
                    <a:pt x="1765" y="0"/>
                  </a:moveTo>
                  <a:cubicBezTo>
                    <a:pt x="788" y="0"/>
                    <a:pt x="0" y="788"/>
                    <a:pt x="0" y="1765"/>
                  </a:cubicBezTo>
                  <a:cubicBezTo>
                    <a:pt x="0" y="2647"/>
                    <a:pt x="567" y="3340"/>
                    <a:pt x="1418" y="3497"/>
                  </a:cubicBezTo>
                  <a:lnTo>
                    <a:pt x="1418" y="4663"/>
                  </a:lnTo>
                  <a:cubicBezTo>
                    <a:pt x="1418" y="4852"/>
                    <a:pt x="1575" y="5010"/>
                    <a:pt x="1765" y="5010"/>
                  </a:cubicBezTo>
                  <a:lnTo>
                    <a:pt x="4600" y="5010"/>
                  </a:lnTo>
                  <a:cubicBezTo>
                    <a:pt x="4789" y="5010"/>
                    <a:pt x="4947" y="4852"/>
                    <a:pt x="4947" y="4663"/>
                  </a:cubicBezTo>
                  <a:lnTo>
                    <a:pt x="4947" y="1765"/>
                  </a:lnTo>
                  <a:cubicBezTo>
                    <a:pt x="4947" y="1576"/>
                    <a:pt x="4789" y="1418"/>
                    <a:pt x="4600" y="1418"/>
                  </a:cubicBezTo>
                  <a:lnTo>
                    <a:pt x="3497" y="1418"/>
                  </a:lnTo>
                  <a:cubicBezTo>
                    <a:pt x="3340" y="630"/>
                    <a:pt x="2615" y="0"/>
                    <a:pt x="176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7" name="Google Shape;6485;p56">
              <a:extLst>
                <a:ext uri="{FF2B5EF4-FFF2-40B4-BE49-F238E27FC236}">
                  <a16:creationId xmlns:a16="http://schemas.microsoft.com/office/drawing/2014/main" id="{75365188-4DB9-4E55-AE84-FE7D9FC60B59}"/>
                </a:ext>
              </a:extLst>
            </p:cNvPr>
            <p:cNvSpPr/>
            <p:nvPr/>
          </p:nvSpPr>
          <p:spPr>
            <a:xfrm>
              <a:off x="-47159525" y="2342000"/>
              <a:ext cx="300900" cy="300875"/>
            </a:xfrm>
            <a:custGeom>
              <a:avLst/>
              <a:gdLst/>
              <a:ahLst/>
              <a:cxnLst/>
              <a:rect l="l" t="t" r="r" b="b"/>
              <a:pathLst>
                <a:path w="12036" h="12035" extrusionOk="0">
                  <a:moveTo>
                    <a:pt x="7089" y="1229"/>
                  </a:moveTo>
                  <a:lnTo>
                    <a:pt x="8003" y="2142"/>
                  </a:lnTo>
                  <a:lnTo>
                    <a:pt x="7089" y="2142"/>
                  </a:lnTo>
                  <a:lnTo>
                    <a:pt x="7089" y="1229"/>
                  </a:lnTo>
                  <a:close/>
                  <a:moveTo>
                    <a:pt x="8538" y="6396"/>
                  </a:moveTo>
                  <a:lnTo>
                    <a:pt x="8538" y="6711"/>
                  </a:lnTo>
                  <a:cubicBezTo>
                    <a:pt x="8538" y="6900"/>
                    <a:pt x="8664" y="7057"/>
                    <a:pt x="8885" y="7057"/>
                  </a:cubicBezTo>
                  <a:cubicBezTo>
                    <a:pt x="9074" y="7057"/>
                    <a:pt x="9231" y="6900"/>
                    <a:pt x="9231" y="6711"/>
                  </a:cubicBezTo>
                  <a:lnTo>
                    <a:pt x="9231" y="6427"/>
                  </a:lnTo>
                  <a:cubicBezTo>
                    <a:pt x="10303" y="6585"/>
                    <a:pt x="11153" y="7467"/>
                    <a:pt x="11311" y="8506"/>
                  </a:cubicBezTo>
                  <a:lnTo>
                    <a:pt x="10996" y="8506"/>
                  </a:lnTo>
                  <a:cubicBezTo>
                    <a:pt x="10807" y="8506"/>
                    <a:pt x="10649" y="8664"/>
                    <a:pt x="10649" y="8884"/>
                  </a:cubicBezTo>
                  <a:cubicBezTo>
                    <a:pt x="10649" y="9073"/>
                    <a:pt x="10807" y="9231"/>
                    <a:pt x="10996" y="9231"/>
                  </a:cubicBezTo>
                  <a:lnTo>
                    <a:pt x="11311" y="9231"/>
                  </a:lnTo>
                  <a:cubicBezTo>
                    <a:pt x="11153" y="10302"/>
                    <a:pt x="10303" y="11121"/>
                    <a:pt x="9231" y="11279"/>
                  </a:cubicBezTo>
                  <a:lnTo>
                    <a:pt x="9231" y="10964"/>
                  </a:lnTo>
                  <a:cubicBezTo>
                    <a:pt x="9231" y="10775"/>
                    <a:pt x="9074" y="10617"/>
                    <a:pt x="8885" y="10617"/>
                  </a:cubicBezTo>
                  <a:cubicBezTo>
                    <a:pt x="8664" y="10617"/>
                    <a:pt x="8538" y="10775"/>
                    <a:pt x="8538" y="10964"/>
                  </a:cubicBezTo>
                  <a:lnTo>
                    <a:pt x="8538" y="11279"/>
                  </a:lnTo>
                  <a:cubicBezTo>
                    <a:pt x="7467" y="11121"/>
                    <a:pt x="6585" y="10239"/>
                    <a:pt x="6428" y="9200"/>
                  </a:cubicBezTo>
                  <a:lnTo>
                    <a:pt x="6743" y="9200"/>
                  </a:lnTo>
                  <a:cubicBezTo>
                    <a:pt x="6963" y="9200"/>
                    <a:pt x="7089" y="9042"/>
                    <a:pt x="7089" y="8821"/>
                  </a:cubicBezTo>
                  <a:cubicBezTo>
                    <a:pt x="7089" y="8632"/>
                    <a:pt x="6963" y="8475"/>
                    <a:pt x="6743" y="8475"/>
                  </a:cubicBezTo>
                  <a:lnTo>
                    <a:pt x="6428" y="8475"/>
                  </a:lnTo>
                  <a:cubicBezTo>
                    <a:pt x="6585" y="7404"/>
                    <a:pt x="7467" y="6553"/>
                    <a:pt x="8538" y="6396"/>
                  </a:cubicBezTo>
                  <a:close/>
                  <a:moveTo>
                    <a:pt x="6428" y="725"/>
                  </a:moveTo>
                  <a:lnTo>
                    <a:pt x="6428" y="2489"/>
                  </a:lnTo>
                  <a:cubicBezTo>
                    <a:pt x="6428" y="2678"/>
                    <a:pt x="6585" y="2836"/>
                    <a:pt x="6774" y="2836"/>
                  </a:cubicBezTo>
                  <a:lnTo>
                    <a:pt x="8570" y="2836"/>
                  </a:lnTo>
                  <a:lnTo>
                    <a:pt x="8570" y="5734"/>
                  </a:lnTo>
                  <a:cubicBezTo>
                    <a:pt x="6995" y="5892"/>
                    <a:pt x="5766" y="7246"/>
                    <a:pt x="5766" y="8884"/>
                  </a:cubicBezTo>
                  <a:cubicBezTo>
                    <a:pt x="5766" y="9861"/>
                    <a:pt x="6238" y="10775"/>
                    <a:pt x="6932" y="11310"/>
                  </a:cubicBezTo>
                  <a:lnTo>
                    <a:pt x="757" y="11310"/>
                  </a:lnTo>
                  <a:lnTo>
                    <a:pt x="757" y="725"/>
                  </a:lnTo>
                  <a:close/>
                  <a:moveTo>
                    <a:pt x="379" y="0"/>
                  </a:moveTo>
                  <a:cubicBezTo>
                    <a:pt x="158" y="0"/>
                    <a:pt x="0" y="158"/>
                    <a:pt x="0" y="378"/>
                  </a:cubicBezTo>
                  <a:lnTo>
                    <a:pt x="0" y="11657"/>
                  </a:lnTo>
                  <a:cubicBezTo>
                    <a:pt x="0" y="11877"/>
                    <a:pt x="158" y="12035"/>
                    <a:pt x="379" y="12035"/>
                  </a:cubicBezTo>
                  <a:lnTo>
                    <a:pt x="8822" y="12035"/>
                  </a:lnTo>
                  <a:cubicBezTo>
                    <a:pt x="10555" y="12035"/>
                    <a:pt x="11972" y="10617"/>
                    <a:pt x="11972" y="8884"/>
                  </a:cubicBezTo>
                  <a:cubicBezTo>
                    <a:pt x="12035" y="7215"/>
                    <a:pt x="10807" y="5892"/>
                    <a:pt x="9231" y="5734"/>
                  </a:cubicBezTo>
                  <a:lnTo>
                    <a:pt x="9231" y="2489"/>
                  </a:lnTo>
                  <a:cubicBezTo>
                    <a:pt x="9231" y="2426"/>
                    <a:pt x="9200" y="2300"/>
                    <a:pt x="9105" y="2268"/>
                  </a:cubicBezTo>
                  <a:lnTo>
                    <a:pt x="6995" y="126"/>
                  </a:lnTo>
                  <a:cubicBezTo>
                    <a:pt x="6900" y="63"/>
                    <a:pt x="6837" y="0"/>
                    <a:pt x="674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1" name="Google Shape;6486;p56">
              <a:extLst>
                <a:ext uri="{FF2B5EF4-FFF2-40B4-BE49-F238E27FC236}">
                  <a16:creationId xmlns:a16="http://schemas.microsoft.com/office/drawing/2014/main" id="{AB75E25B-6360-42CA-8ABF-0AD2E99C0036}"/>
                </a:ext>
              </a:extLst>
            </p:cNvPr>
            <p:cNvSpPr/>
            <p:nvPr/>
          </p:nvSpPr>
          <p:spPr>
            <a:xfrm>
              <a:off x="-46946075" y="2537325"/>
              <a:ext cx="35450" cy="35475"/>
            </a:xfrm>
            <a:custGeom>
              <a:avLst/>
              <a:gdLst/>
              <a:ahLst/>
              <a:cxnLst/>
              <a:rect l="l" t="t" r="r" b="b"/>
              <a:pathLst>
                <a:path w="1418" h="1419" extrusionOk="0">
                  <a:moveTo>
                    <a:pt x="347" y="0"/>
                  </a:moveTo>
                  <a:cubicBezTo>
                    <a:pt x="158" y="0"/>
                    <a:pt x="0" y="158"/>
                    <a:pt x="0" y="347"/>
                  </a:cubicBezTo>
                  <a:lnTo>
                    <a:pt x="0" y="1071"/>
                  </a:lnTo>
                  <a:cubicBezTo>
                    <a:pt x="0" y="1260"/>
                    <a:pt x="158" y="1418"/>
                    <a:pt x="347" y="1418"/>
                  </a:cubicBezTo>
                  <a:lnTo>
                    <a:pt x="1040" y="1418"/>
                  </a:lnTo>
                  <a:cubicBezTo>
                    <a:pt x="1261" y="1418"/>
                    <a:pt x="1418" y="1260"/>
                    <a:pt x="1418" y="1071"/>
                  </a:cubicBezTo>
                  <a:cubicBezTo>
                    <a:pt x="1387" y="851"/>
                    <a:pt x="1261" y="693"/>
                    <a:pt x="1040" y="693"/>
                  </a:cubicBezTo>
                  <a:lnTo>
                    <a:pt x="693" y="693"/>
                  </a:lnTo>
                  <a:lnTo>
                    <a:pt x="693" y="347"/>
                  </a:lnTo>
                  <a:cubicBezTo>
                    <a:pt x="693" y="158"/>
                    <a:pt x="536" y="0"/>
                    <a:pt x="34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2" name="Google Shape;6487;p56">
              <a:extLst>
                <a:ext uri="{FF2B5EF4-FFF2-40B4-BE49-F238E27FC236}">
                  <a16:creationId xmlns:a16="http://schemas.microsoft.com/office/drawing/2014/main" id="{91226068-7BF6-434B-BDBF-CCA46609DA27}"/>
                </a:ext>
              </a:extLst>
            </p:cNvPr>
            <p:cNvSpPr/>
            <p:nvPr/>
          </p:nvSpPr>
          <p:spPr>
            <a:xfrm>
              <a:off x="-47122500" y="253732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488;p56">
              <a:extLst>
                <a:ext uri="{FF2B5EF4-FFF2-40B4-BE49-F238E27FC236}">
                  <a16:creationId xmlns:a16="http://schemas.microsoft.com/office/drawing/2014/main" id="{4F4DAD6C-57AC-4BB8-A459-E0B58EB486F7}"/>
                </a:ext>
              </a:extLst>
            </p:cNvPr>
            <p:cNvSpPr/>
            <p:nvPr/>
          </p:nvSpPr>
          <p:spPr>
            <a:xfrm>
              <a:off x="-47122500" y="257277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7" name="Google Shape;9304;p63">
            <a:extLst>
              <a:ext uri="{FF2B5EF4-FFF2-40B4-BE49-F238E27FC236}">
                <a16:creationId xmlns:a16="http://schemas.microsoft.com/office/drawing/2014/main" id="{7CA6A3FA-B669-4689-BF74-0A91C6234F10}"/>
              </a:ext>
            </a:extLst>
          </p:cNvPr>
          <p:cNvSpPr/>
          <p:nvPr/>
        </p:nvSpPr>
        <p:spPr>
          <a:xfrm>
            <a:off x="589639" y="5784877"/>
            <a:ext cx="514533" cy="507744"/>
          </a:xfrm>
          <a:custGeom>
            <a:avLst/>
            <a:gdLst/>
            <a:ahLst/>
            <a:cxnLst/>
            <a:rect l="l" t="t" r="r" b="b"/>
            <a:pathLst>
              <a:path w="11973" h="11815" extrusionOk="0">
                <a:moveTo>
                  <a:pt x="5986" y="631"/>
                </a:moveTo>
                <a:cubicBezTo>
                  <a:pt x="6396" y="631"/>
                  <a:pt x="6711" y="946"/>
                  <a:pt x="6711" y="1324"/>
                </a:cubicBezTo>
                <a:cubicBezTo>
                  <a:pt x="6711" y="1733"/>
                  <a:pt x="6396" y="2048"/>
                  <a:pt x="5986" y="2048"/>
                </a:cubicBezTo>
                <a:cubicBezTo>
                  <a:pt x="5608" y="2048"/>
                  <a:pt x="5293" y="1733"/>
                  <a:pt x="5293" y="1324"/>
                </a:cubicBezTo>
                <a:cubicBezTo>
                  <a:pt x="5293" y="946"/>
                  <a:pt x="5608" y="631"/>
                  <a:pt x="5986" y="631"/>
                </a:cubicBezTo>
                <a:close/>
                <a:moveTo>
                  <a:pt x="5986" y="2710"/>
                </a:moveTo>
                <a:cubicBezTo>
                  <a:pt x="6931" y="2710"/>
                  <a:pt x="7719" y="3498"/>
                  <a:pt x="7719" y="4443"/>
                </a:cubicBezTo>
                <a:lnTo>
                  <a:pt x="7719" y="4789"/>
                </a:lnTo>
                <a:lnTo>
                  <a:pt x="4253" y="4789"/>
                </a:lnTo>
                <a:lnTo>
                  <a:pt x="4253" y="4443"/>
                </a:lnTo>
                <a:cubicBezTo>
                  <a:pt x="4253" y="3498"/>
                  <a:pt x="5041" y="2710"/>
                  <a:pt x="5986" y="2710"/>
                </a:cubicBezTo>
                <a:close/>
                <a:moveTo>
                  <a:pt x="3245" y="6900"/>
                </a:moveTo>
                <a:cubicBezTo>
                  <a:pt x="3623" y="6900"/>
                  <a:pt x="3938" y="7215"/>
                  <a:pt x="3938" y="7593"/>
                </a:cubicBezTo>
                <a:cubicBezTo>
                  <a:pt x="3938" y="8003"/>
                  <a:pt x="3623" y="8318"/>
                  <a:pt x="3245" y="8318"/>
                </a:cubicBezTo>
                <a:cubicBezTo>
                  <a:pt x="2836" y="8255"/>
                  <a:pt x="2521" y="7940"/>
                  <a:pt x="2521" y="7593"/>
                </a:cubicBezTo>
                <a:cubicBezTo>
                  <a:pt x="2521" y="7215"/>
                  <a:pt x="2836" y="6900"/>
                  <a:pt x="3245" y="6900"/>
                </a:cubicBezTo>
                <a:close/>
                <a:moveTo>
                  <a:pt x="8759" y="6900"/>
                </a:moveTo>
                <a:cubicBezTo>
                  <a:pt x="9137" y="6900"/>
                  <a:pt x="9452" y="7215"/>
                  <a:pt x="9452" y="7593"/>
                </a:cubicBezTo>
                <a:cubicBezTo>
                  <a:pt x="9452" y="8003"/>
                  <a:pt x="9137" y="8318"/>
                  <a:pt x="8759" y="8318"/>
                </a:cubicBezTo>
                <a:cubicBezTo>
                  <a:pt x="8349" y="8318"/>
                  <a:pt x="8034" y="7940"/>
                  <a:pt x="8034" y="7593"/>
                </a:cubicBezTo>
                <a:cubicBezTo>
                  <a:pt x="8034" y="7215"/>
                  <a:pt x="8349" y="6900"/>
                  <a:pt x="8759" y="6900"/>
                </a:cubicBezTo>
                <a:close/>
                <a:moveTo>
                  <a:pt x="10365" y="5545"/>
                </a:moveTo>
                <a:cubicBezTo>
                  <a:pt x="10523" y="5545"/>
                  <a:pt x="10680" y="5672"/>
                  <a:pt x="10712" y="5829"/>
                </a:cubicBezTo>
                <a:lnTo>
                  <a:pt x="11216" y="8570"/>
                </a:lnTo>
                <a:cubicBezTo>
                  <a:pt x="11247" y="8790"/>
                  <a:pt x="11027" y="8980"/>
                  <a:pt x="10838" y="8980"/>
                </a:cubicBezTo>
                <a:lnTo>
                  <a:pt x="10460" y="8980"/>
                </a:lnTo>
                <a:cubicBezTo>
                  <a:pt x="10239" y="8790"/>
                  <a:pt x="10019" y="8633"/>
                  <a:pt x="9767" y="8507"/>
                </a:cubicBezTo>
                <a:cubicBezTo>
                  <a:pt x="10019" y="8255"/>
                  <a:pt x="10145" y="7940"/>
                  <a:pt x="10145" y="7562"/>
                </a:cubicBezTo>
                <a:cubicBezTo>
                  <a:pt x="10145" y="6806"/>
                  <a:pt x="9515" y="6176"/>
                  <a:pt x="8759" y="6176"/>
                </a:cubicBezTo>
                <a:cubicBezTo>
                  <a:pt x="8002" y="6176"/>
                  <a:pt x="7372" y="6806"/>
                  <a:pt x="7372" y="7562"/>
                </a:cubicBezTo>
                <a:cubicBezTo>
                  <a:pt x="7372" y="7908"/>
                  <a:pt x="7498" y="8223"/>
                  <a:pt x="7719" y="8507"/>
                </a:cubicBezTo>
                <a:cubicBezTo>
                  <a:pt x="7498" y="8633"/>
                  <a:pt x="7246" y="8790"/>
                  <a:pt x="7057" y="8980"/>
                </a:cubicBezTo>
                <a:lnTo>
                  <a:pt x="4883" y="8980"/>
                </a:lnTo>
                <a:cubicBezTo>
                  <a:pt x="4694" y="8790"/>
                  <a:pt x="4442" y="8633"/>
                  <a:pt x="4222" y="8507"/>
                </a:cubicBezTo>
                <a:cubicBezTo>
                  <a:pt x="4474" y="8255"/>
                  <a:pt x="4568" y="7940"/>
                  <a:pt x="4568" y="7562"/>
                </a:cubicBezTo>
                <a:cubicBezTo>
                  <a:pt x="4568" y="6806"/>
                  <a:pt x="3938" y="6176"/>
                  <a:pt x="3214" y="6176"/>
                </a:cubicBezTo>
                <a:cubicBezTo>
                  <a:pt x="2458" y="6176"/>
                  <a:pt x="1828" y="6806"/>
                  <a:pt x="1828" y="7562"/>
                </a:cubicBezTo>
                <a:cubicBezTo>
                  <a:pt x="1828" y="7908"/>
                  <a:pt x="1954" y="8223"/>
                  <a:pt x="2174" y="8507"/>
                </a:cubicBezTo>
                <a:cubicBezTo>
                  <a:pt x="1922" y="8633"/>
                  <a:pt x="1701" y="8790"/>
                  <a:pt x="1512" y="8980"/>
                </a:cubicBezTo>
                <a:lnTo>
                  <a:pt x="1103" y="8980"/>
                </a:lnTo>
                <a:cubicBezTo>
                  <a:pt x="882" y="8980"/>
                  <a:pt x="725" y="8790"/>
                  <a:pt x="756" y="8570"/>
                </a:cubicBezTo>
                <a:lnTo>
                  <a:pt x="1260" y="5829"/>
                </a:lnTo>
                <a:cubicBezTo>
                  <a:pt x="1323" y="5672"/>
                  <a:pt x="1418" y="5545"/>
                  <a:pt x="1638" y="5545"/>
                </a:cubicBezTo>
                <a:close/>
                <a:moveTo>
                  <a:pt x="3214" y="8948"/>
                </a:moveTo>
                <a:cubicBezTo>
                  <a:pt x="4127" y="8948"/>
                  <a:pt x="4915" y="9736"/>
                  <a:pt x="4915" y="10712"/>
                </a:cubicBezTo>
                <a:lnTo>
                  <a:pt x="4915" y="11059"/>
                </a:lnTo>
                <a:lnTo>
                  <a:pt x="1481" y="11059"/>
                </a:lnTo>
                <a:lnTo>
                  <a:pt x="1481" y="10712"/>
                </a:lnTo>
                <a:cubicBezTo>
                  <a:pt x="1481" y="9736"/>
                  <a:pt x="2269" y="8948"/>
                  <a:pt x="3214" y="8948"/>
                </a:cubicBezTo>
                <a:close/>
                <a:moveTo>
                  <a:pt x="8759" y="8948"/>
                </a:moveTo>
                <a:cubicBezTo>
                  <a:pt x="9704" y="8948"/>
                  <a:pt x="10491" y="9736"/>
                  <a:pt x="10491" y="10712"/>
                </a:cubicBezTo>
                <a:lnTo>
                  <a:pt x="10491" y="11059"/>
                </a:lnTo>
                <a:lnTo>
                  <a:pt x="7026" y="11059"/>
                </a:lnTo>
                <a:lnTo>
                  <a:pt x="7026" y="10712"/>
                </a:lnTo>
                <a:cubicBezTo>
                  <a:pt x="7026" y="9736"/>
                  <a:pt x="7813" y="8948"/>
                  <a:pt x="8759" y="8948"/>
                </a:cubicBezTo>
                <a:close/>
                <a:moveTo>
                  <a:pt x="5986" y="1"/>
                </a:moveTo>
                <a:cubicBezTo>
                  <a:pt x="5262" y="1"/>
                  <a:pt x="4631" y="631"/>
                  <a:pt x="4631" y="1387"/>
                </a:cubicBezTo>
                <a:cubicBezTo>
                  <a:pt x="4631" y="1733"/>
                  <a:pt x="4726" y="2048"/>
                  <a:pt x="4978" y="2269"/>
                </a:cubicBezTo>
                <a:cubicBezTo>
                  <a:pt x="4127" y="2679"/>
                  <a:pt x="3592" y="3498"/>
                  <a:pt x="3592" y="4474"/>
                </a:cubicBezTo>
                <a:lnTo>
                  <a:pt x="3592" y="4852"/>
                </a:lnTo>
                <a:lnTo>
                  <a:pt x="1670" y="4852"/>
                </a:lnTo>
                <a:cubicBezTo>
                  <a:pt x="1166" y="4852"/>
                  <a:pt x="725" y="5199"/>
                  <a:pt x="630" y="5703"/>
                </a:cubicBezTo>
                <a:lnTo>
                  <a:pt x="126" y="8475"/>
                </a:lnTo>
                <a:cubicBezTo>
                  <a:pt x="0" y="9043"/>
                  <a:pt x="473" y="9610"/>
                  <a:pt x="1071" y="9673"/>
                </a:cubicBezTo>
                <a:cubicBezTo>
                  <a:pt x="914" y="9988"/>
                  <a:pt x="819" y="10366"/>
                  <a:pt x="819" y="10744"/>
                </a:cubicBezTo>
                <a:lnTo>
                  <a:pt x="819" y="11468"/>
                </a:lnTo>
                <a:cubicBezTo>
                  <a:pt x="819" y="11657"/>
                  <a:pt x="977" y="11815"/>
                  <a:pt x="1197" y="11815"/>
                </a:cubicBezTo>
                <a:lnTo>
                  <a:pt x="5356" y="11815"/>
                </a:lnTo>
                <a:cubicBezTo>
                  <a:pt x="5545" y="11815"/>
                  <a:pt x="5703" y="11657"/>
                  <a:pt x="5703" y="11468"/>
                </a:cubicBezTo>
                <a:lnTo>
                  <a:pt x="5703" y="10744"/>
                </a:lnTo>
                <a:cubicBezTo>
                  <a:pt x="5703" y="10366"/>
                  <a:pt x="5640" y="9988"/>
                  <a:pt x="5482" y="9673"/>
                </a:cubicBezTo>
                <a:lnTo>
                  <a:pt x="6648" y="9673"/>
                </a:lnTo>
                <a:cubicBezTo>
                  <a:pt x="6490" y="9988"/>
                  <a:pt x="6427" y="10366"/>
                  <a:pt x="6427" y="10744"/>
                </a:cubicBezTo>
                <a:lnTo>
                  <a:pt x="6427" y="11468"/>
                </a:lnTo>
                <a:cubicBezTo>
                  <a:pt x="6427" y="11657"/>
                  <a:pt x="6585" y="11815"/>
                  <a:pt x="6774" y="11815"/>
                </a:cubicBezTo>
                <a:lnTo>
                  <a:pt x="10838" y="11815"/>
                </a:lnTo>
                <a:cubicBezTo>
                  <a:pt x="11027" y="11815"/>
                  <a:pt x="11184" y="11657"/>
                  <a:pt x="11184" y="11468"/>
                </a:cubicBezTo>
                <a:lnTo>
                  <a:pt x="11184" y="10744"/>
                </a:lnTo>
                <a:cubicBezTo>
                  <a:pt x="11184" y="10366"/>
                  <a:pt x="11121" y="9988"/>
                  <a:pt x="10964" y="9673"/>
                </a:cubicBezTo>
                <a:cubicBezTo>
                  <a:pt x="11563" y="9610"/>
                  <a:pt x="11972" y="9043"/>
                  <a:pt x="11878" y="8475"/>
                </a:cubicBezTo>
                <a:lnTo>
                  <a:pt x="11342" y="5703"/>
                </a:lnTo>
                <a:cubicBezTo>
                  <a:pt x="11279" y="5199"/>
                  <a:pt x="10838" y="4852"/>
                  <a:pt x="10334" y="4852"/>
                </a:cubicBezTo>
                <a:lnTo>
                  <a:pt x="8412" y="4852"/>
                </a:lnTo>
                <a:lnTo>
                  <a:pt x="8412" y="4474"/>
                </a:lnTo>
                <a:cubicBezTo>
                  <a:pt x="8412" y="3498"/>
                  <a:pt x="7845" y="2679"/>
                  <a:pt x="7026" y="2269"/>
                </a:cubicBezTo>
                <a:cubicBezTo>
                  <a:pt x="7246" y="2048"/>
                  <a:pt x="7372" y="1733"/>
                  <a:pt x="7372" y="1387"/>
                </a:cubicBezTo>
                <a:cubicBezTo>
                  <a:pt x="7372" y="631"/>
                  <a:pt x="6742" y="1"/>
                  <a:pt x="5986" y="1"/>
                </a:cubicBez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8" name="Google Shape;6435;p56">
            <a:extLst>
              <a:ext uri="{FF2B5EF4-FFF2-40B4-BE49-F238E27FC236}">
                <a16:creationId xmlns:a16="http://schemas.microsoft.com/office/drawing/2014/main" id="{E577C8DD-C694-443F-8645-60A1623F6F6E}"/>
              </a:ext>
            </a:extLst>
          </p:cNvPr>
          <p:cNvGrpSpPr/>
          <p:nvPr/>
        </p:nvGrpSpPr>
        <p:grpSpPr>
          <a:xfrm>
            <a:off x="731838" y="4543609"/>
            <a:ext cx="452850" cy="517960"/>
            <a:chOff x="-47509225" y="1974175"/>
            <a:chExt cx="263075" cy="300900"/>
          </a:xfrm>
          <a:solidFill>
            <a:schemeClr val="tx1"/>
          </a:solidFill>
        </p:grpSpPr>
        <p:sp>
          <p:nvSpPr>
            <p:cNvPr id="49" name="Google Shape;6436;p56">
              <a:extLst>
                <a:ext uri="{FF2B5EF4-FFF2-40B4-BE49-F238E27FC236}">
                  <a16:creationId xmlns:a16="http://schemas.microsoft.com/office/drawing/2014/main" id="{83CAD4F4-0D44-415C-966E-0730E54FDA6D}"/>
                </a:ext>
              </a:extLst>
            </p:cNvPr>
            <p:cNvSpPr/>
            <p:nvPr/>
          </p:nvSpPr>
          <p:spPr>
            <a:xfrm>
              <a:off x="-47439925" y="2026950"/>
              <a:ext cx="124475" cy="124450"/>
            </a:xfrm>
            <a:custGeom>
              <a:avLst/>
              <a:gdLst/>
              <a:ahLst/>
              <a:cxnLst/>
              <a:rect l="l" t="t" r="r" b="b"/>
              <a:pathLst>
                <a:path w="4979" h="4978" extrusionOk="0">
                  <a:moveTo>
                    <a:pt x="1828" y="725"/>
                  </a:moveTo>
                  <a:cubicBezTo>
                    <a:pt x="2301" y="725"/>
                    <a:pt x="2679" y="1008"/>
                    <a:pt x="2805" y="1418"/>
                  </a:cubicBezTo>
                  <a:lnTo>
                    <a:pt x="1828" y="1418"/>
                  </a:lnTo>
                  <a:cubicBezTo>
                    <a:pt x="1607" y="1418"/>
                    <a:pt x="1450" y="1575"/>
                    <a:pt x="1450" y="1796"/>
                  </a:cubicBezTo>
                  <a:lnTo>
                    <a:pt x="1450" y="2773"/>
                  </a:lnTo>
                  <a:cubicBezTo>
                    <a:pt x="1040" y="2615"/>
                    <a:pt x="757" y="2206"/>
                    <a:pt x="757" y="1796"/>
                  </a:cubicBezTo>
                  <a:cubicBezTo>
                    <a:pt x="757" y="1197"/>
                    <a:pt x="1229" y="725"/>
                    <a:pt x="1828" y="725"/>
                  </a:cubicBezTo>
                  <a:close/>
                  <a:moveTo>
                    <a:pt x="2805" y="2143"/>
                  </a:moveTo>
                  <a:cubicBezTo>
                    <a:pt x="2679" y="2458"/>
                    <a:pt x="2458" y="2678"/>
                    <a:pt x="2175" y="2773"/>
                  </a:cubicBezTo>
                  <a:lnTo>
                    <a:pt x="2175" y="2143"/>
                  </a:lnTo>
                  <a:close/>
                  <a:moveTo>
                    <a:pt x="4254" y="2111"/>
                  </a:moveTo>
                  <a:lnTo>
                    <a:pt x="4254" y="4222"/>
                  </a:lnTo>
                  <a:lnTo>
                    <a:pt x="2143" y="4222"/>
                  </a:lnTo>
                  <a:lnTo>
                    <a:pt x="2143" y="3466"/>
                  </a:lnTo>
                  <a:cubicBezTo>
                    <a:pt x="2805" y="3308"/>
                    <a:pt x="3372" y="2804"/>
                    <a:pt x="3529" y="2111"/>
                  </a:cubicBezTo>
                  <a:close/>
                  <a:moveTo>
                    <a:pt x="1765" y="0"/>
                  </a:moveTo>
                  <a:cubicBezTo>
                    <a:pt x="788" y="0"/>
                    <a:pt x="1" y="788"/>
                    <a:pt x="1" y="1796"/>
                  </a:cubicBezTo>
                  <a:cubicBezTo>
                    <a:pt x="1" y="2647"/>
                    <a:pt x="599" y="3340"/>
                    <a:pt x="1418" y="3529"/>
                  </a:cubicBezTo>
                  <a:lnTo>
                    <a:pt x="1418" y="4631"/>
                  </a:lnTo>
                  <a:cubicBezTo>
                    <a:pt x="1418" y="4820"/>
                    <a:pt x="1576" y="4978"/>
                    <a:pt x="1765" y="4978"/>
                  </a:cubicBezTo>
                  <a:lnTo>
                    <a:pt x="4569" y="4978"/>
                  </a:lnTo>
                  <a:cubicBezTo>
                    <a:pt x="4789" y="4978"/>
                    <a:pt x="4916" y="4820"/>
                    <a:pt x="4916" y="4631"/>
                  </a:cubicBezTo>
                  <a:lnTo>
                    <a:pt x="4916" y="1827"/>
                  </a:lnTo>
                  <a:cubicBezTo>
                    <a:pt x="4979" y="1575"/>
                    <a:pt x="4821" y="1418"/>
                    <a:pt x="4600" y="1418"/>
                  </a:cubicBezTo>
                  <a:lnTo>
                    <a:pt x="3498" y="1418"/>
                  </a:lnTo>
                  <a:cubicBezTo>
                    <a:pt x="3340" y="630"/>
                    <a:pt x="2647" y="0"/>
                    <a:pt x="176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6437;p56">
              <a:extLst>
                <a:ext uri="{FF2B5EF4-FFF2-40B4-BE49-F238E27FC236}">
                  <a16:creationId xmlns:a16="http://schemas.microsoft.com/office/drawing/2014/main" id="{75B3F614-FF7B-40EF-8100-DA72E93F2E37}"/>
                </a:ext>
              </a:extLst>
            </p:cNvPr>
            <p:cNvSpPr/>
            <p:nvPr/>
          </p:nvSpPr>
          <p:spPr>
            <a:xfrm>
              <a:off x="-47439125" y="2184475"/>
              <a:ext cx="88225" cy="18125"/>
            </a:xfrm>
            <a:custGeom>
              <a:avLst/>
              <a:gdLst/>
              <a:ahLst/>
              <a:cxnLst/>
              <a:rect l="l" t="t" r="r" b="b"/>
              <a:pathLst>
                <a:path w="3529" h="725" extrusionOk="0">
                  <a:moveTo>
                    <a:pt x="378" y="0"/>
                  </a:moveTo>
                  <a:cubicBezTo>
                    <a:pt x="158" y="0"/>
                    <a:pt x="32" y="158"/>
                    <a:pt x="32" y="378"/>
                  </a:cubicBezTo>
                  <a:cubicBezTo>
                    <a:pt x="0" y="567"/>
                    <a:pt x="158" y="725"/>
                    <a:pt x="378" y="725"/>
                  </a:cubicBezTo>
                  <a:lnTo>
                    <a:pt x="3182" y="725"/>
                  </a:lnTo>
                  <a:cubicBezTo>
                    <a:pt x="3371" y="725"/>
                    <a:pt x="3529" y="567"/>
                    <a:pt x="3529" y="378"/>
                  </a:cubicBezTo>
                  <a:cubicBezTo>
                    <a:pt x="3529" y="158"/>
                    <a:pt x="3371" y="0"/>
                    <a:pt x="31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Google Shape;6438;p56">
              <a:extLst>
                <a:ext uri="{FF2B5EF4-FFF2-40B4-BE49-F238E27FC236}">
                  <a16:creationId xmlns:a16="http://schemas.microsoft.com/office/drawing/2014/main" id="{3C528776-124A-47F4-86A5-283114CA3F38}"/>
                </a:ext>
              </a:extLst>
            </p:cNvPr>
            <p:cNvSpPr/>
            <p:nvPr/>
          </p:nvSpPr>
          <p:spPr>
            <a:xfrm>
              <a:off x="-47438350" y="2219900"/>
              <a:ext cx="122900" cy="18150"/>
            </a:xfrm>
            <a:custGeom>
              <a:avLst/>
              <a:gdLst/>
              <a:ahLst/>
              <a:cxnLst/>
              <a:rect l="l" t="t" r="r" b="b"/>
              <a:pathLst>
                <a:path w="4916" h="726" extrusionOk="0">
                  <a:moveTo>
                    <a:pt x="347" y="1"/>
                  </a:moveTo>
                  <a:cubicBezTo>
                    <a:pt x="127" y="1"/>
                    <a:pt x="1" y="158"/>
                    <a:pt x="1" y="379"/>
                  </a:cubicBezTo>
                  <a:cubicBezTo>
                    <a:pt x="1" y="568"/>
                    <a:pt x="127" y="725"/>
                    <a:pt x="347" y="725"/>
                  </a:cubicBezTo>
                  <a:lnTo>
                    <a:pt x="4537" y="725"/>
                  </a:lnTo>
                  <a:cubicBezTo>
                    <a:pt x="4758" y="725"/>
                    <a:pt x="4916" y="568"/>
                    <a:pt x="4916" y="379"/>
                  </a:cubicBezTo>
                  <a:cubicBezTo>
                    <a:pt x="4916" y="158"/>
                    <a:pt x="4758" y="1"/>
                    <a:pt x="453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3" name="Google Shape;6439;p56">
              <a:extLst>
                <a:ext uri="{FF2B5EF4-FFF2-40B4-BE49-F238E27FC236}">
                  <a16:creationId xmlns:a16="http://schemas.microsoft.com/office/drawing/2014/main" id="{B4E1361A-EF1A-4D66-851B-0C0A72AF91BD}"/>
                </a:ext>
              </a:extLst>
            </p:cNvPr>
            <p:cNvSpPr/>
            <p:nvPr/>
          </p:nvSpPr>
          <p:spPr>
            <a:xfrm>
              <a:off x="-47333600" y="218605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6" y="536"/>
                    <a:pt x="726" y="347"/>
                  </a:cubicBezTo>
                  <a:cubicBezTo>
                    <a:pt x="726" y="126"/>
                    <a:pt x="568" y="0"/>
                    <a:pt x="34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4" name="Google Shape;6440;p56">
              <a:extLst>
                <a:ext uri="{FF2B5EF4-FFF2-40B4-BE49-F238E27FC236}">
                  <a16:creationId xmlns:a16="http://schemas.microsoft.com/office/drawing/2014/main" id="{4543D5C5-A17B-4A77-AE9C-8B0A21E74FD9}"/>
                </a:ext>
              </a:extLst>
            </p:cNvPr>
            <p:cNvSpPr/>
            <p:nvPr/>
          </p:nvSpPr>
          <p:spPr>
            <a:xfrm>
              <a:off x="-47509225" y="1974175"/>
              <a:ext cx="263075" cy="300900"/>
            </a:xfrm>
            <a:custGeom>
              <a:avLst/>
              <a:gdLst/>
              <a:ahLst/>
              <a:cxnLst/>
              <a:rect l="l" t="t" r="r" b="b"/>
              <a:pathLst>
                <a:path w="10523" h="12036" extrusionOk="0">
                  <a:moveTo>
                    <a:pt x="9483" y="2111"/>
                  </a:moveTo>
                  <a:cubicBezTo>
                    <a:pt x="9672" y="2111"/>
                    <a:pt x="9830" y="2269"/>
                    <a:pt x="9830" y="2489"/>
                  </a:cubicBezTo>
                  <a:lnTo>
                    <a:pt x="9830" y="3529"/>
                  </a:lnTo>
                  <a:lnTo>
                    <a:pt x="9105" y="3529"/>
                  </a:lnTo>
                  <a:lnTo>
                    <a:pt x="9105" y="2111"/>
                  </a:lnTo>
                  <a:close/>
                  <a:moveTo>
                    <a:pt x="9830" y="4222"/>
                  </a:moveTo>
                  <a:lnTo>
                    <a:pt x="9830" y="5640"/>
                  </a:lnTo>
                  <a:lnTo>
                    <a:pt x="9105" y="5640"/>
                  </a:lnTo>
                  <a:lnTo>
                    <a:pt x="9105" y="4222"/>
                  </a:lnTo>
                  <a:close/>
                  <a:moveTo>
                    <a:pt x="9861" y="6333"/>
                  </a:moveTo>
                  <a:lnTo>
                    <a:pt x="9861" y="7751"/>
                  </a:lnTo>
                  <a:lnTo>
                    <a:pt x="9168" y="7751"/>
                  </a:lnTo>
                  <a:lnTo>
                    <a:pt x="9168" y="6333"/>
                  </a:lnTo>
                  <a:close/>
                  <a:moveTo>
                    <a:pt x="9830" y="8412"/>
                  </a:moveTo>
                  <a:lnTo>
                    <a:pt x="9830" y="9483"/>
                  </a:lnTo>
                  <a:cubicBezTo>
                    <a:pt x="9830" y="9672"/>
                    <a:pt x="9672" y="9830"/>
                    <a:pt x="9483" y="9830"/>
                  </a:cubicBezTo>
                  <a:lnTo>
                    <a:pt x="9137" y="9830"/>
                  </a:lnTo>
                  <a:lnTo>
                    <a:pt x="9137" y="8412"/>
                  </a:lnTo>
                  <a:close/>
                  <a:moveTo>
                    <a:pt x="8444" y="630"/>
                  </a:moveTo>
                  <a:lnTo>
                    <a:pt x="8444" y="11248"/>
                  </a:lnTo>
                  <a:lnTo>
                    <a:pt x="1450" y="11248"/>
                  </a:lnTo>
                  <a:lnTo>
                    <a:pt x="1450" y="10554"/>
                  </a:lnTo>
                  <a:lnTo>
                    <a:pt x="1796" y="10554"/>
                  </a:lnTo>
                  <a:cubicBezTo>
                    <a:pt x="1985" y="10554"/>
                    <a:pt x="2143" y="10397"/>
                    <a:pt x="2143" y="10176"/>
                  </a:cubicBezTo>
                  <a:cubicBezTo>
                    <a:pt x="2143" y="9987"/>
                    <a:pt x="1985" y="9830"/>
                    <a:pt x="1796" y="9830"/>
                  </a:cubicBezTo>
                  <a:lnTo>
                    <a:pt x="1450" y="9830"/>
                  </a:lnTo>
                  <a:lnTo>
                    <a:pt x="1450" y="8412"/>
                  </a:lnTo>
                  <a:lnTo>
                    <a:pt x="1796" y="8412"/>
                  </a:lnTo>
                  <a:cubicBezTo>
                    <a:pt x="1985" y="8412"/>
                    <a:pt x="2143" y="8255"/>
                    <a:pt x="2143" y="8066"/>
                  </a:cubicBezTo>
                  <a:cubicBezTo>
                    <a:pt x="2143" y="7877"/>
                    <a:pt x="1985" y="7719"/>
                    <a:pt x="1796" y="7719"/>
                  </a:cubicBezTo>
                  <a:lnTo>
                    <a:pt x="1450" y="7719"/>
                  </a:lnTo>
                  <a:lnTo>
                    <a:pt x="1450" y="6301"/>
                  </a:lnTo>
                  <a:lnTo>
                    <a:pt x="1796" y="6301"/>
                  </a:lnTo>
                  <a:cubicBezTo>
                    <a:pt x="1985" y="6301"/>
                    <a:pt x="2143" y="6144"/>
                    <a:pt x="2143" y="5923"/>
                  </a:cubicBezTo>
                  <a:cubicBezTo>
                    <a:pt x="2143" y="5734"/>
                    <a:pt x="1985" y="5577"/>
                    <a:pt x="1796" y="5577"/>
                  </a:cubicBezTo>
                  <a:lnTo>
                    <a:pt x="1450" y="5577"/>
                  </a:lnTo>
                  <a:lnTo>
                    <a:pt x="1450" y="4159"/>
                  </a:lnTo>
                  <a:lnTo>
                    <a:pt x="1796" y="4159"/>
                  </a:lnTo>
                  <a:cubicBezTo>
                    <a:pt x="1985" y="4159"/>
                    <a:pt x="2143" y="4001"/>
                    <a:pt x="2143" y="3812"/>
                  </a:cubicBezTo>
                  <a:cubicBezTo>
                    <a:pt x="2143" y="3623"/>
                    <a:pt x="1985" y="3466"/>
                    <a:pt x="1796" y="3466"/>
                  </a:cubicBezTo>
                  <a:lnTo>
                    <a:pt x="1450" y="3466"/>
                  </a:lnTo>
                  <a:lnTo>
                    <a:pt x="1450" y="2048"/>
                  </a:lnTo>
                  <a:lnTo>
                    <a:pt x="1796" y="2048"/>
                  </a:lnTo>
                  <a:cubicBezTo>
                    <a:pt x="1985" y="2048"/>
                    <a:pt x="2143" y="1891"/>
                    <a:pt x="2143" y="1670"/>
                  </a:cubicBezTo>
                  <a:cubicBezTo>
                    <a:pt x="2143" y="1481"/>
                    <a:pt x="1985" y="1324"/>
                    <a:pt x="1796" y="1324"/>
                  </a:cubicBezTo>
                  <a:lnTo>
                    <a:pt x="1450" y="1324"/>
                  </a:lnTo>
                  <a:lnTo>
                    <a:pt x="1450" y="630"/>
                  </a:lnTo>
                  <a:close/>
                  <a:moveTo>
                    <a:pt x="1040" y="0"/>
                  </a:moveTo>
                  <a:cubicBezTo>
                    <a:pt x="851" y="0"/>
                    <a:pt x="693" y="158"/>
                    <a:pt x="693" y="347"/>
                  </a:cubicBezTo>
                  <a:lnTo>
                    <a:pt x="693" y="1418"/>
                  </a:lnTo>
                  <a:lnTo>
                    <a:pt x="347" y="1418"/>
                  </a:lnTo>
                  <a:cubicBezTo>
                    <a:pt x="158" y="1418"/>
                    <a:pt x="0" y="1576"/>
                    <a:pt x="0" y="1765"/>
                  </a:cubicBezTo>
                  <a:cubicBezTo>
                    <a:pt x="0" y="1954"/>
                    <a:pt x="158" y="2111"/>
                    <a:pt x="347" y="2111"/>
                  </a:cubicBezTo>
                  <a:lnTo>
                    <a:pt x="693" y="2111"/>
                  </a:lnTo>
                  <a:lnTo>
                    <a:pt x="693" y="3529"/>
                  </a:lnTo>
                  <a:lnTo>
                    <a:pt x="347" y="3529"/>
                  </a:lnTo>
                  <a:cubicBezTo>
                    <a:pt x="158" y="3529"/>
                    <a:pt x="0" y="3686"/>
                    <a:pt x="0" y="3907"/>
                  </a:cubicBezTo>
                  <a:cubicBezTo>
                    <a:pt x="0" y="4096"/>
                    <a:pt x="158" y="4254"/>
                    <a:pt x="347" y="4254"/>
                  </a:cubicBezTo>
                  <a:lnTo>
                    <a:pt x="693" y="4254"/>
                  </a:lnTo>
                  <a:lnTo>
                    <a:pt x="693" y="5671"/>
                  </a:lnTo>
                  <a:lnTo>
                    <a:pt x="347" y="5671"/>
                  </a:lnTo>
                  <a:cubicBezTo>
                    <a:pt x="158" y="5671"/>
                    <a:pt x="0" y="5829"/>
                    <a:pt x="0" y="6018"/>
                  </a:cubicBezTo>
                  <a:cubicBezTo>
                    <a:pt x="0" y="6207"/>
                    <a:pt x="158" y="6364"/>
                    <a:pt x="347" y="6364"/>
                  </a:cubicBezTo>
                  <a:lnTo>
                    <a:pt x="693" y="6364"/>
                  </a:lnTo>
                  <a:lnTo>
                    <a:pt x="693" y="7782"/>
                  </a:lnTo>
                  <a:lnTo>
                    <a:pt x="347" y="7782"/>
                  </a:lnTo>
                  <a:cubicBezTo>
                    <a:pt x="158" y="7782"/>
                    <a:pt x="0" y="7940"/>
                    <a:pt x="0" y="8160"/>
                  </a:cubicBezTo>
                  <a:cubicBezTo>
                    <a:pt x="0" y="8349"/>
                    <a:pt x="158" y="8507"/>
                    <a:pt x="347" y="8507"/>
                  </a:cubicBezTo>
                  <a:lnTo>
                    <a:pt x="693" y="8507"/>
                  </a:lnTo>
                  <a:lnTo>
                    <a:pt x="693" y="9924"/>
                  </a:lnTo>
                  <a:lnTo>
                    <a:pt x="347" y="9924"/>
                  </a:lnTo>
                  <a:cubicBezTo>
                    <a:pt x="158" y="9924"/>
                    <a:pt x="0" y="10082"/>
                    <a:pt x="0" y="10271"/>
                  </a:cubicBezTo>
                  <a:cubicBezTo>
                    <a:pt x="0" y="10460"/>
                    <a:pt x="158" y="10617"/>
                    <a:pt x="347" y="10617"/>
                  </a:cubicBezTo>
                  <a:lnTo>
                    <a:pt x="693" y="10617"/>
                  </a:lnTo>
                  <a:lnTo>
                    <a:pt x="693" y="11689"/>
                  </a:lnTo>
                  <a:cubicBezTo>
                    <a:pt x="693" y="11878"/>
                    <a:pt x="851" y="12035"/>
                    <a:pt x="1040" y="12035"/>
                  </a:cubicBezTo>
                  <a:lnTo>
                    <a:pt x="8759" y="12035"/>
                  </a:lnTo>
                  <a:cubicBezTo>
                    <a:pt x="8979" y="12035"/>
                    <a:pt x="9137" y="11878"/>
                    <a:pt x="9137" y="11689"/>
                  </a:cubicBezTo>
                  <a:lnTo>
                    <a:pt x="9137" y="10617"/>
                  </a:lnTo>
                  <a:lnTo>
                    <a:pt x="9483" y="10617"/>
                  </a:lnTo>
                  <a:cubicBezTo>
                    <a:pt x="10050" y="10617"/>
                    <a:pt x="10523" y="10145"/>
                    <a:pt x="10523" y="9578"/>
                  </a:cubicBezTo>
                  <a:lnTo>
                    <a:pt x="10523" y="2552"/>
                  </a:lnTo>
                  <a:cubicBezTo>
                    <a:pt x="10523" y="1891"/>
                    <a:pt x="10050" y="1418"/>
                    <a:pt x="9483" y="1418"/>
                  </a:cubicBezTo>
                  <a:lnTo>
                    <a:pt x="9137" y="1418"/>
                  </a:lnTo>
                  <a:lnTo>
                    <a:pt x="9137" y="347"/>
                  </a:lnTo>
                  <a:cubicBezTo>
                    <a:pt x="9137" y="158"/>
                    <a:pt x="8979" y="0"/>
                    <a:pt x="875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extLst>
      <p:ext uri="{BB962C8B-B14F-4D97-AF65-F5344CB8AC3E}">
        <p14:creationId xmlns:p14="http://schemas.microsoft.com/office/powerpoint/2010/main" val="38497051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1" name="Straight Connector 100">
            <a:extLst>
              <a:ext uri="{FF2B5EF4-FFF2-40B4-BE49-F238E27FC236}">
                <a16:creationId xmlns:a16="http://schemas.microsoft.com/office/drawing/2014/main" id="{3AE0B898-ABD5-4F13-9399-E07EC2829183}"/>
              </a:ext>
            </a:extLst>
          </p:cNvPr>
          <p:cNvCxnSpPr>
            <a:cxnSpLocks/>
          </p:cNvCxnSpPr>
          <p:nvPr/>
        </p:nvCxnSpPr>
        <p:spPr>
          <a:xfrm>
            <a:off x="2497015" y="1652954"/>
            <a:ext cx="1855177" cy="0"/>
          </a:xfrm>
          <a:prstGeom prst="line">
            <a:avLst/>
          </a:prstGeom>
          <a:ln w="19050">
            <a:solidFill>
              <a:schemeClr val="accent2">
                <a:alpha val="2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D770756-96C6-4F20-AE8E-6077E3CAC0C0}"/>
              </a:ext>
            </a:extLst>
          </p:cNvPr>
          <p:cNvCxnSpPr>
            <a:cxnSpLocks/>
          </p:cNvCxnSpPr>
          <p:nvPr/>
        </p:nvCxnSpPr>
        <p:spPr>
          <a:xfrm flipV="1">
            <a:off x="3151286" y="5363311"/>
            <a:ext cx="1224513" cy="8192"/>
          </a:xfrm>
          <a:prstGeom prst="line">
            <a:avLst/>
          </a:prstGeom>
          <a:ln w="19050">
            <a:solidFill>
              <a:schemeClr val="accent2">
                <a:alpha val="2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47A846C-A050-4B26-8584-91F48DF62BD3}"/>
              </a:ext>
            </a:extLst>
          </p:cNvPr>
          <p:cNvCxnSpPr>
            <a:cxnSpLocks/>
          </p:cNvCxnSpPr>
          <p:nvPr/>
        </p:nvCxnSpPr>
        <p:spPr>
          <a:xfrm>
            <a:off x="3543300" y="4422531"/>
            <a:ext cx="808892" cy="0"/>
          </a:xfrm>
          <a:prstGeom prst="line">
            <a:avLst/>
          </a:prstGeom>
          <a:ln w="19050">
            <a:solidFill>
              <a:schemeClr val="accent2">
                <a:alpha val="2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08EDF1B-9416-48D9-86DC-96D45460FE5A}"/>
              </a:ext>
            </a:extLst>
          </p:cNvPr>
          <p:cNvCxnSpPr>
            <a:cxnSpLocks/>
            <a:stCxn id="99" idx="6"/>
          </p:cNvCxnSpPr>
          <p:nvPr/>
        </p:nvCxnSpPr>
        <p:spPr>
          <a:xfrm flipV="1">
            <a:off x="2373923" y="6288026"/>
            <a:ext cx="1978269" cy="2020"/>
          </a:xfrm>
          <a:prstGeom prst="line">
            <a:avLst/>
          </a:prstGeom>
          <a:ln w="19050">
            <a:solidFill>
              <a:schemeClr val="accent2">
                <a:alpha val="2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E6FF9CF-FE82-47C4-B3B3-0A7E71F0E8D6}"/>
              </a:ext>
            </a:extLst>
          </p:cNvPr>
          <p:cNvCxnSpPr>
            <a:cxnSpLocks/>
          </p:cNvCxnSpPr>
          <p:nvPr/>
        </p:nvCxnSpPr>
        <p:spPr>
          <a:xfrm flipV="1">
            <a:off x="3332284" y="2523392"/>
            <a:ext cx="1019908" cy="17587"/>
          </a:xfrm>
          <a:prstGeom prst="line">
            <a:avLst/>
          </a:prstGeom>
          <a:ln w="19050">
            <a:solidFill>
              <a:schemeClr val="accent2">
                <a:alpha val="2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0606"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dirty="0" smtClean="0"/>
              <a:t>Очікувані результати реалізації Стратегії</a:t>
            </a:r>
            <a:endParaRPr lang="en-US" dirty="0"/>
          </a:p>
        </p:txBody>
      </p:sp>
      <p:sp>
        <p:nvSpPr>
          <p:cNvPr id="44" name="Slide Number Placeholder 8">
            <a:extLst>
              <a:ext uri="{FF2B5EF4-FFF2-40B4-BE49-F238E27FC236}">
                <a16:creationId xmlns:a16="http://schemas.microsoft.com/office/drawing/2014/main" id="{74134483-5B92-4D19-ACB0-28FDAF283F63}"/>
              </a:ext>
            </a:extLst>
          </p:cNvPr>
          <p:cNvSpPr>
            <a:spLocks noGrp="1"/>
          </p:cNvSpPr>
          <p:nvPr>
            <p:ph type="sldNum" sz="quarter" idx="4"/>
          </p:nvPr>
        </p:nvSpPr>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22</a:t>
            </a:fld>
            <a:endParaRPr lang="uk-UA" sz="900" dirty="0">
              <a:latin typeface="+mn-lt"/>
            </a:endParaRPr>
          </a:p>
        </p:txBody>
      </p:sp>
      <p:sp>
        <p:nvSpPr>
          <p:cNvPr id="9" name="Text Placeholder 8">
            <a:extLst>
              <a:ext uri="{FF2B5EF4-FFF2-40B4-BE49-F238E27FC236}">
                <a16:creationId xmlns:a16="http://schemas.microsoft.com/office/drawing/2014/main" id="{0DF1A1B7-BCF2-4F42-A500-2A86FB3B8732}"/>
              </a:ext>
            </a:extLst>
          </p:cNvPr>
          <p:cNvSpPr>
            <a:spLocks noGrp="1"/>
          </p:cNvSpPr>
          <p:nvPr>
            <p:ph type="body" sz="quarter" idx="4294967295"/>
          </p:nvPr>
        </p:nvSpPr>
        <p:spPr>
          <a:xfrm>
            <a:off x="4475164" y="1507759"/>
            <a:ext cx="6471260" cy="515937"/>
          </a:xfrm>
        </p:spPr>
        <p:txBody>
          <a:bodyPr/>
          <a:lstStyle/>
          <a:p>
            <a:r>
              <a:rPr lang="ru-RU" dirty="0"/>
              <a:t>забезпечення відповідності законодавства України у сфері звітування із сталого розвитку вимогам законодавства ЄС у цій сфері</a:t>
            </a:r>
            <a:endParaRPr lang="uk-UA" dirty="0"/>
          </a:p>
        </p:txBody>
      </p:sp>
      <p:sp>
        <p:nvSpPr>
          <p:cNvPr id="10" name="Text Placeholder 9">
            <a:extLst>
              <a:ext uri="{FF2B5EF4-FFF2-40B4-BE49-F238E27FC236}">
                <a16:creationId xmlns:a16="http://schemas.microsoft.com/office/drawing/2014/main" id="{08AD44D2-82BE-4992-913B-7C1D7B47E2DB}"/>
              </a:ext>
            </a:extLst>
          </p:cNvPr>
          <p:cNvSpPr>
            <a:spLocks noGrp="1"/>
          </p:cNvSpPr>
          <p:nvPr>
            <p:ph type="body" sz="quarter" idx="4294967295"/>
          </p:nvPr>
        </p:nvSpPr>
        <p:spPr>
          <a:xfrm>
            <a:off x="4475163" y="2420938"/>
            <a:ext cx="6506429" cy="515938"/>
          </a:xfrm>
        </p:spPr>
        <p:txBody>
          <a:bodyPr/>
          <a:lstStyle/>
          <a:p>
            <a:r>
              <a:rPr lang="uk-UA" dirty="0"/>
              <a:t>складення згідно з Європейськими стандартами звітності із сталого розвитку (</a:t>
            </a:r>
            <a:r>
              <a:rPr lang="en-US" dirty="0"/>
              <a:t>ESRS), </a:t>
            </a:r>
            <a:r>
              <a:rPr lang="uk-UA" dirty="0"/>
              <a:t>подання та оприлюднення підприємствами звітності із сталого розвитку разом з аудиторським звітом про відповідність звітності із сталого розвитку вимогам Європейських стандартів звітності із сталого розвитку (</a:t>
            </a:r>
            <a:r>
              <a:rPr lang="en-US" dirty="0"/>
              <a:t>ESRS</a:t>
            </a:r>
            <a:r>
              <a:rPr lang="en-US" dirty="0" smtClean="0"/>
              <a:t>)</a:t>
            </a:r>
            <a:endParaRPr lang="uk-UA" dirty="0"/>
          </a:p>
        </p:txBody>
      </p:sp>
      <p:sp>
        <p:nvSpPr>
          <p:cNvPr id="12" name="Text Placeholder 11">
            <a:extLst>
              <a:ext uri="{FF2B5EF4-FFF2-40B4-BE49-F238E27FC236}">
                <a16:creationId xmlns:a16="http://schemas.microsoft.com/office/drawing/2014/main" id="{11EEB967-3907-45CD-B4E9-E288B51F9487}"/>
              </a:ext>
            </a:extLst>
          </p:cNvPr>
          <p:cNvSpPr>
            <a:spLocks noGrp="1"/>
          </p:cNvSpPr>
          <p:nvPr>
            <p:ph type="body" sz="quarter" idx="4294967295"/>
          </p:nvPr>
        </p:nvSpPr>
        <p:spPr>
          <a:xfrm>
            <a:off x="4475163" y="3977298"/>
            <a:ext cx="6836752" cy="515938"/>
          </a:xfrm>
        </p:spPr>
        <p:txBody>
          <a:bodyPr/>
          <a:lstStyle/>
          <a:p>
            <a:r>
              <a:rPr lang="uk-UA" dirty="0"/>
              <a:t>отримання користувачами звітності із сталого розвитку достовірної та об’єктивної інформації, необхідної для оцінювання екологічних і соціальних аспектів діяльності підприємств та їх впливу на навколишнє природне </a:t>
            </a:r>
            <a:r>
              <a:rPr lang="uk-UA" dirty="0" smtClean="0"/>
              <a:t>середовище</a:t>
            </a:r>
            <a:endParaRPr lang="uk-UA" dirty="0"/>
          </a:p>
        </p:txBody>
      </p:sp>
      <p:sp>
        <p:nvSpPr>
          <p:cNvPr id="13" name="Text Placeholder 12">
            <a:extLst>
              <a:ext uri="{FF2B5EF4-FFF2-40B4-BE49-F238E27FC236}">
                <a16:creationId xmlns:a16="http://schemas.microsoft.com/office/drawing/2014/main" id="{956C4E09-95E4-47DE-AF75-FC56BF0B835C}"/>
              </a:ext>
            </a:extLst>
          </p:cNvPr>
          <p:cNvSpPr>
            <a:spLocks noGrp="1"/>
          </p:cNvSpPr>
          <p:nvPr>
            <p:ph type="body" sz="quarter" idx="4294967295"/>
          </p:nvPr>
        </p:nvSpPr>
        <p:spPr>
          <a:xfrm>
            <a:off x="4475163" y="5246932"/>
            <a:ext cx="6836752" cy="515937"/>
          </a:xfrm>
        </p:spPr>
        <p:txBody>
          <a:bodyPr/>
          <a:lstStyle/>
          <a:p>
            <a:r>
              <a:rPr lang="ru-RU" dirty="0"/>
              <a:t>створення рівних з підприємствами ЄС умов для діяльності українських підприємств на міжнародних ринках капіталу</a:t>
            </a:r>
            <a:endParaRPr lang="uk-UA" dirty="0"/>
          </a:p>
        </p:txBody>
      </p:sp>
      <p:sp>
        <p:nvSpPr>
          <p:cNvPr id="14" name="Text Placeholder 13">
            <a:extLst>
              <a:ext uri="{FF2B5EF4-FFF2-40B4-BE49-F238E27FC236}">
                <a16:creationId xmlns:a16="http://schemas.microsoft.com/office/drawing/2014/main" id="{128CE274-2730-474D-8F63-FAC52AFE28DE}"/>
              </a:ext>
            </a:extLst>
          </p:cNvPr>
          <p:cNvSpPr>
            <a:spLocks noGrp="1"/>
          </p:cNvSpPr>
          <p:nvPr>
            <p:ph type="body" sz="quarter" idx="4294967295"/>
          </p:nvPr>
        </p:nvSpPr>
        <p:spPr>
          <a:xfrm>
            <a:off x="4475163" y="6030057"/>
            <a:ext cx="6845544" cy="515938"/>
          </a:xfrm>
        </p:spPr>
        <p:txBody>
          <a:bodyPr/>
          <a:lstStyle/>
          <a:p>
            <a:r>
              <a:rPr lang="uk-UA" dirty="0"/>
              <a:t>збільшення обсягу залучення інвестицій в підприємства, які подають та оприлюднюють звітність із сталого розвитку</a:t>
            </a:r>
          </a:p>
        </p:txBody>
      </p:sp>
      <p:sp>
        <p:nvSpPr>
          <p:cNvPr id="57" name="Text Placeholder 56">
            <a:extLst>
              <a:ext uri="{FF2B5EF4-FFF2-40B4-BE49-F238E27FC236}">
                <a16:creationId xmlns:a16="http://schemas.microsoft.com/office/drawing/2014/main" id="{0B3B49F0-8B08-48DF-A5E9-97FA5562BFCB}"/>
              </a:ext>
            </a:extLst>
          </p:cNvPr>
          <p:cNvSpPr>
            <a:spLocks noGrp="1"/>
          </p:cNvSpPr>
          <p:nvPr>
            <p:ph type="body" sz="quarter" idx="4294967295"/>
          </p:nvPr>
        </p:nvSpPr>
        <p:spPr>
          <a:xfrm>
            <a:off x="571500" y="2875085"/>
            <a:ext cx="1811215" cy="1631340"/>
          </a:xfrm>
        </p:spPr>
        <p:txBody>
          <a:bodyPr/>
          <a:lstStyle/>
          <a:p>
            <a:pPr algn="ctr"/>
            <a:r>
              <a:rPr lang="uk-UA" sz="2000" dirty="0">
                <a:solidFill>
                  <a:schemeClr val="accent2"/>
                </a:solidFill>
                <a:latin typeface="+mj-lt"/>
              </a:rPr>
              <a:t>Реалізація Стратегії сприятиме досягненню таких </a:t>
            </a:r>
            <a:r>
              <a:rPr lang="uk-UA" sz="2000" dirty="0" smtClean="0">
                <a:solidFill>
                  <a:schemeClr val="accent2"/>
                </a:solidFill>
                <a:latin typeface="+mj-lt"/>
              </a:rPr>
              <a:t>результатів:</a:t>
            </a:r>
            <a:endParaRPr lang="uk-UA" sz="2000" dirty="0">
              <a:solidFill>
                <a:schemeClr val="accent2"/>
              </a:solidFill>
              <a:latin typeface="+mj-lt"/>
            </a:endParaRPr>
          </a:p>
        </p:txBody>
      </p:sp>
      <p:sp>
        <p:nvSpPr>
          <p:cNvPr id="20" name="Circle">
            <a:extLst>
              <a:ext uri="{FF2B5EF4-FFF2-40B4-BE49-F238E27FC236}">
                <a16:creationId xmlns:a16="http://schemas.microsoft.com/office/drawing/2014/main" id="{CEBC3F14-91C4-46C7-ACB7-20233ED916E2}"/>
              </a:ext>
            </a:extLst>
          </p:cNvPr>
          <p:cNvSpPr/>
          <p:nvPr/>
        </p:nvSpPr>
        <p:spPr>
          <a:xfrm>
            <a:off x="1719250" y="1293691"/>
            <a:ext cx="725011" cy="720000"/>
          </a:xfrm>
          <a:prstGeom prst="ellipse">
            <a:avLst/>
          </a:prstGeom>
          <a:solidFill>
            <a:srgbClr val="FFFFFF"/>
          </a:solidFill>
          <a:ln w="63500">
            <a:solidFill>
              <a:schemeClr val="accent2"/>
            </a:solidFill>
            <a:miter lim="400000"/>
          </a:ln>
        </p:spPr>
        <p:txBody>
          <a:bodyPr lIns="50800" tIns="50800" rIns="50800" bIns="50800" anchor="ctr"/>
          <a:lstStyle/>
          <a:p>
            <a:pPr defTabSz="778933">
              <a:defRPr b="0">
                <a:solidFill>
                  <a:srgbClr val="FFFFFF"/>
                </a:solidFill>
                <a:latin typeface="e-Ukraine UltraLight"/>
                <a:ea typeface="e-Ukraine UltraLight"/>
                <a:cs typeface="e-Ukraine UltraLight"/>
                <a:sym typeface="e-Ukraine UltraLight"/>
              </a:defRPr>
            </a:pPr>
            <a:endParaRPr dirty="0">
              <a:latin typeface="e-Ukraine UltraLight" panose="00000500000000000000" pitchFamily="50" charset="0"/>
            </a:endParaRPr>
          </a:p>
        </p:txBody>
      </p:sp>
      <p:sp>
        <p:nvSpPr>
          <p:cNvPr id="92" name="Circle">
            <a:extLst>
              <a:ext uri="{FF2B5EF4-FFF2-40B4-BE49-F238E27FC236}">
                <a16:creationId xmlns:a16="http://schemas.microsoft.com/office/drawing/2014/main" id="{52C9EB3F-322B-4F04-A3D4-0E3D0501F3A1}"/>
              </a:ext>
            </a:extLst>
          </p:cNvPr>
          <p:cNvSpPr/>
          <p:nvPr/>
        </p:nvSpPr>
        <p:spPr>
          <a:xfrm>
            <a:off x="2513966" y="2140430"/>
            <a:ext cx="756771" cy="734654"/>
          </a:xfrm>
          <a:prstGeom prst="ellipse">
            <a:avLst/>
          </a:prstGeom>
          <a:solidFill>
            <a:srgbClr val="FFFFFF"/>
          </a:solidFill>
          <a:ln w="63500">
            <a:solidFill>
              <a:schemeClr val="accent2"/>
            </a:solidFill>
            <a:miter lim="400000"/>
          </a:ln>
        </p:spPr>
        <p:txBody>
          <a:bodyPr lIns="50800" tIns="50800" rIns="50800" bIns="50800" anchor="ctr"/>
          <a:lstStyle/>
          <a:p>
            <a:pPr defTabSz="778933">
              <a:defRPr b="0">
                <a:solidFill>
                  <a:srgbClr val="FFFFFF"/>
                </a:solidFill>
                <a:latin typeface="e-Ukraine UltraLight"/>
                <a:ea typeface="e-Ukraine UltraLight"/>
                <a:cs typeface="e-Ukraine UltraLight"/>
                <a:sym typeface="e-Ukraine UltraLight"/>
              </a:defRPr>
            </a:pPr>
            <a:endParaRPr dirty="0">
              <a:latin typeface="e-Ukraine UltraLight" panose="00000500000000000000" pitchFamily="50" charset="0"/>
            </a:endParaRPr>
          </a:p>
        </p:txBody>
      </p:sp>
      <p:sp>
        <p:nvSpPr>
          <p:cNvPr id="95" name="Circle">
            <a:extLst>
              <a:ext uri="{FF2B5EF4-FFF2-40B4-BE49-F238E27FC236}">
                <a16:creationId xmlns:a16="http://schemas.microsoft.com/office/drawing/2014/main" id="{3193914B-6008-411B-A01B-EB0784A63D46}"/>
              </a:ext>
            </a:extLst>
          </p:cNvPr>
          <p:cNvSpPr/>
          <p:nvPr/>
        </p:nvSpPr>
        <p:spPr>
          <a:xfrm>
            <a:off x="2784435" y="4042272"/>
            <a:ext cx="720000" cy="720000"/>
          </a:xfrm>
          <a:prstGeom prst="ellipse">
            <a:avLst/>
          </a:prstGeom>
          <a:solidFill>
            <a:srgbClr val="FFFFFF"/>
          </a:solidFill>
          <a:ln w="63500">
            <a:solidFill>
              <a:schemeClr val="accent2"/>
            </a:solidFill>
            <a:miter lim="400000"/>
          </a:ln>
        </p:spPr>
        <p:txBody>
          <a:bodyPr lIns="50800" tIns="50800" rIns="50800" bIns="50800" anchor="ctr"/>
          <a:lstStyle/>
          <a:p>
            <a:pPr defTabSz="778933">
              <a:defRPr b="0">
                <a:solidFill>
                  <a:srgbClr val="FFFFFF"/>
                </a:solidFill>
                <a:latin typeface="e-Ukraine UltraLight"/>
                <a:ea typeface="e-Ukraine UltraLight"/>
                <a:cs typeface="e-Ukraine UltraLight"/>
                <a:sym typeface="e-Ukraine UltraLight"/>
              </a:defRPr>
            </a:pPr>
            <a:endParaRPr dirty="0">
              <a:latin typeface="e-Ukraine UltraLight" panose="00000500000000000000" pitchFamily="50" charset="0"/>
            </a:endParaRPr>
          </a:p>
        </p:txBody>
      </p:sp>
      <p:sp>
        <p:nvSpPr>
          <p:cNvPr id="97" name="Circle">
            <a:extLst>
              <a:ext uri="{FF2B5EF4-FFF2-40B4-BE49-F238E27FC236}">
                <a16:creationId xmlns:a16="http://schemas.microsoft.com/office/drawing/2014/main" id="{7B020F0C-21C9-4FE1-87A7-9B1F840242FF}"/>
              </a:ext>
            </a:extLst>
          </p:cNvPr>
          <p:cNvSpPr/>
          <p:nvPr/>
        </p:nvSpPr>
        <p:spPr>
          <a:xfrm>
            <a:off x="2461845" y="5205047"/>
            <a:ext cx="714827" cy="740672"/>
          </a:xfrm>
          <a:prstGeom prst="ellipse">
            <a:avLst/>
          </a:prstGeom>
          <a:solidFill>
            <a:srgbClr val="FFFFFF"/>
          </a:solidFill>
          <a:ln w="63500">
            <a:solidFill>
              <a:schemeClr val="accent2"/>
            </a:solidFill>
            <a:miter lim="400000"/>
          </a:ln>
        </p:spPr>
        <p:txBody>
          <a:bodyPr lIns="50800" tIns="50800" rIns="50800" bIns="50800" anchor="ctr"/>
          <a:lstStyle/>
          <a:p>
            <a:pPr defTabSz="778933">
              <a:defRPr b="0">
                <a:solidFill>
                  <a:srgbClr val="FFFFFF"/>
                </a:solidFill>
                <a:latin typeface="e-Ukraine UltraLight"/>
                <a:ea typeface="e-Ukraine UltraLight"/>
                <a:cs typeface="e-Ukraine UltraLight"/>
                <a:sym typeface="e-Ukraine UltraLight"/>
              </a:defRPr>
            </a:pPr>
            <a:endParaRPr dirty="0">
              <a:latin typeface="e-Ukraine UltraLight" panose="00000500000000000000" pitchFamily="50" charset="0"/>
            </a:endParaRPr>
          </a:p>
        </p:txBody>
      </p:sp>
      <p:sp>
        <p:nvSpPr>
          <p:cNvPr id="99" name="Circle">
            <a:extLst>
              <a:ext uri="{FF2B5EF4-FFF2-40B4-BE49-F238E27FC236}">
                <a16:creationId xmlns:a16="http://schemas.microsoft.com/office/drawing/2014/main" id="{E7950AD1-4B91-4670-AAF3-24C9E3E04028}"/>
              </a:ext>
            </a:extLst>
          </p:cNvPr>
          <p:cNvSpPr/>
          <p:nvPr/>
        </p:nvSpPr>
        <p:spPr>
          <a:xfrm>
            <a:off x="1662479" y="5926016"/>
            <a:ext cx="711444" cy="728060"/>
          </a:xfrm>
          <a:prstGeom prst="ellipse">
            <a:avLst/>
          </a:prstGeom>
          <a:solidFill>
            <a:srgbClr val="FFFFFF"/>
          </a:solidFill>
          <a:ln w="63500">
            <a:solidFill>
              <a:schemeClr val="accent2"/>
            </a:solidFill>
            <a:miter lim="400000"/>
          </a:ln>
        </p:spPr>
        <p:txBody>
          <a:bodyPr lIns="50800" tIns="50800" rIns="50800" bIns="50800" anchor="ctr"/>
          <a:lstStyle/>
          <a:p>
            <a:pPr defTabSz="778933">
              <a:defRPr b="0">
                <a:solidFill>
                  <a:srgbClr val="FFFFFF"/>
                </a:solidFill>
                <a:latin typeface="e-Ukraine UltraLight"/>
                <a:ea typeface="e-Ukraine UltraLight"/>
                <a:cs typeface="e-Ukraine UltraLight"/>
                <a:sym typeface="e-Ukraine UltraLight"/>
              </a:defRPr>
            </a:pPr>
            <a:endParaRPr dirty="0">
              <a:latin typeface="e-Ukraine UltraLight" panose="00000500000000000000" pitchFamily="50" charset="0"/>
            </a:endParaRPr>
          </a:p>
        </p:txBody>
      </p:sp>
      <p:sp>
        <p:nvSpPr>
          <p:cNvPr id="45" name="Google Shape;9306;p63">
            <a:extLst>
              <a:ext uri="{FF2B5EF4-FFF2-40B4-BE49-F238E27FC236}">
                <a16:creationId xmlns:a16="http://schemas.microsoft.com/office/drawing/2014/main" id="{7C5D4593-20F6-4088-9071-D30F9401FDCA}"/>
              </a:ext>
            </a:extLst>
          </p:cNvPr>
          <p:cNvSpPr/>
          <p:nvPr/>
        </p:nvSpPr>
        <p:spPr>
          <a:xfrm>
            <a:off x="1881554" y="1434368"/>
            <a:ext cx="448407" cy="452193"/>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6" name="Google Shape;5302;p53">
            <a:extLst>
              <a:ext uri="{FF2B5EF4-FFF2-40B4-BE49-F238E27FC236}">
                <a16:creationId xmlns:a16="http://schemas.microsoft.com/office/drawing/2014/main" id="{3533231A-3E01-48D3-9A10-D908FA3C95BA}"/>
              </a:ext>
            </a:extLst>
          </p:cNvPr>
          <p:cNvGrpSpPr/>
          <p:nvPr/>
        </p:nvGrpSpPr>
        <p:grpSpPr>
          <a:xfrm>
            <a:off x="2637692" y="2268415"/>
            <a:ext cx="518746" cy="512885"/>
            <a:chOff x="1487200" y="4993750"/>
            <a:chExt cx="483125" cy="483125"/>
          </a:xfrm>
          <a:solidFill>
            <a:schemeClr val="accent2"/>
          </a:solidFill>
        </p:grpSpPr>
        <p:sp>
          <p:nvSpPr>
            <p:cNvPr id="47" name="Google Shape;5303;p53">
              <a:extLst>
                <a:ext uri="{FF2B5EF4-FFF2-40B4-BE49-F238E27FC236}">
                  <a16:creationId xmlns:a16="http://schemas.microsoft.com/office/drawing/2014/main" id="{BB27EA69-7F06-45E9-B44D-36F3DFDCB1E5}"/>
                </a:ext>
              </a:extLst>
            </p:cNvPr>
            <p:cNvSpPr/>
            <p:nvPr/>
          </p:nvSpPr>
          <p:spPr>
            <a:xfrm>
              <a:off x="148720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3" y="17352"/>
                    <a:pt x="11822" y="18193"/>
                    <a:pt x="9661" y="18193"/>
                  </a:cubicBezTo>
                  <a:cubicBezTo>
                    <a:pt x="7500" y="18193"/>
                    <a:pt x="5340" y="17352"/>
                    <a:pt x="3657" y="15668"/>
                  </a:cubicBezTo>
                  <a:cubicBezTo>
                    <a:pt x="290" y="12302"/>
                    <a:pt x="290" y="7024"/>
                    <a:pt x="3657" y="3657"/>
                  </a:cubicBezTo>
                  <a:cubicBezTo>
                    <a:pt x="5342" y="1975"/>
                    <a:pt x="7500" y="1133"/>
                    <a:pt x="9662" y="1133"/>
                  </a:cubicBezTo>
                  <a:close/>
                  <a:moveTo>
                    <a:pt x="9662" y="1"/>
                  </a:moveTo>
                  <a:cubicBezTo>
                    <a:pt x="7117" y="1"/>
                    <a:pt x="4698" y="1015"/>
                    <a:pt x="2857" y="2857"/>
                  </a:cubicBezTo>
                  <a:cubicBezTo>
                    <a:pt x="1015" y="4699"/>
                    <a:pt x="0" y="7117"/>
                    <a:pt x="0" y="9663"/>
                  </a:cubicBezTo>
                  <a:cubicBezTo>
                    <a:pt x="0" y="12208"/>
                    <a:pt x="1015" y="14627"/>
                    <a:pt x="2857" y="16469"/>
                  </a:cubicBezTo>
                  <a:cubicBezTo>
                    <a:pt x="4698" y="18310"/>
                    <a:pt x="7117" y="19325"/>
                    <a:pt x="9662"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sp>
          <p:nvSpPr>
            <p:cNvPr id="48" name="Google Shape;5304;p53">
              <a:extLst>
                <a:ext uri="{FF2B5EF4-FFF2-40B4-BE49-F238E27FC236}">
                  <a16:creationId xmlns:a16="http://schemas.microsoft.com/office/drawing/2014/main" id="{54EFD40B-9F21-4810-B057-EDF06267D104}"/>
                </a:ext>
              </a:extLst>
            </p:cNvPr>
            <p:cNvSpPr/>
            <p:nvPr/>
          </p:nvSpPr>
          <p:spPr>
            <a:xfrm>
              <a:off x="1602600" y="5143950"/>
              <a:ext cx="250350" cy="182725"/>
            </a:xfrm>
            <a:custGeom>
              <a:avLst/>
              <a:gdLst/>
              <a:ahLst/>
              <a:cxnLst/>
              <a:rect l="l" t="t" r="r" b="b"/>
              <a:pathLst>
                <a:path w="10014" h="7309" extrusionOk="0">
                  <a:moveTo>
                    <a:pt x="8149" y="1134"/>
                  </a:moveTo>
                  <a:cubicBezTo>
                    <a:pt x="8294" y="1134"/>
                    <a:pt x="8439" y="1189"/>
                    <a:pt x="8549" y="1300"/>
                  </a:cubicBezTo>
                  <a:cubicBezTo>
                    <a:pt x="8769" y="1520"/>
                    <a:pt x="8769" y="1879"/>
                    <a:pt x="8549" y="2100"/>
                  </a:cubicBezTo>
                  <a:lnTo>
                    <a:pt x="4639" y="6007"/>
                  </a:lnTo>
                  <a:cubicBezTo>
                    <a:pt x="4527" y="6120"/>
                    <a:pt x="4377" y="6177"/>
                    <a:pt x="4227" y="6177"/>
                  </a:cubicBezTo>
                  <a:cubicBezTo>
                    <a:pt x="4081" y="6177"/>
                    <a:pt x="3937" y="6123"/>
                    <a:pt x="3830" y="6016"/>
                  </a:cubicBezTo>
                  <a:lnTo>
                    <a:pt x="1547" y="3748"/>
                  </a:lnTo>
                  <a:cubicBezTo>
                    <a:pt x="1296" y="3534"/>
                    <a:pt x="1281" y="3151"/>
                    <a:pt x="1514" y="2918"/>
                  </a:cubicBezTo>
                  <a:cubicBezTo>
                    <a:pt x="1626" y="2806"/>
                    <a:pt x="1771" y="2750"/>
                    <a:pt x="1916" y="2750"/>
                  </a:cubicBezTo>
                  <a:cubicBezTo>
                    <a:pt x="2074" y="2750"/>
                    <a:pt x="2232" y="2817"/>
                    <a:pt x="2344" y="2948"/>
                  </a:cubicBezTo>
                  <a:lnTo>
                    <a:pt x="3784" y="4388"/>
                  </a:lnTo>
                  <a:cubicBezTo>
                    <a:pt x="3793" y="4401"/>
                    <a:pt x="3805" y="4410"/>
                    <a:pt x="3817" y="4419"/>
                  </a:cubicBezTo>
                  <a:cubicBezTo>
                    <a:pt x="3817" y="4422"/>
                    <a:pt x="3820" y="4422"/>
                    <a:pt x="3823" y="4425"/>
                  </a:cubicBezTo>
                  <a:cubicBezTo>
                    <a:pt x="3934" y="4535"/>
                    <a:pt x="4078" y="4590"/>
                    <a:pt x="4222" y="4590"/>
                  </a:cubicBezTo>
                  <a:cubicBezTo>
                    <a:pt x="4367" y="4590"/>
                    <a:pt x="4512" y="4535"/>
                    <a:pt x="4624" y="4425"/>
                  </a:cubicBezTo>
                  <a:lnTo>
                    <a:pt x="7749" y="1300"/>
                  </a:lnTo>
                  <a:cubicBezTo>
                    <a:pt x="7859" y="1189"/>
                    <a:pt x="8004" y="1134"/>
                    <a:pt x="8149" y="1134"/>
                  </a:cubicBezTo>
                  <a:close/>
                  <a:moveTo>
                    <a:pt x="8146" y="1"/>
                  </a:moveTo>
                  <a:cubicBezTo>
                    <a:pt x="7712" y="1"/>
                    <a:pt x="7279" y="166"/>
                    <a:pt x="6949" y="496"/>
                  </a:cubicBezTo>
                  <a:lnTo>
                    <a:pt x="6946" y="496"/>
                  </a:lnTo>
                  <a:lnTo>
                    <a:pt x="4219" y="3223"/>
                  </a:lnTo>
                  <a:lnTo>
                    <a:pt x="3144" y="2148"/>
                  </a:lnTo>
                  <a:cubicBezTo>
                    <a:pt x="2808" y="1779"/>
                    <a:pt x="2348" y="1594"/>
                    <a:pt x="1887" y="1594"/>
                  </a:cubicBezTo>
                  <a:cubicBezTo>
                    <a:pt x="1453" y="1594"/>
                    <a:pt x="1019" y="1758"/>
                    <a:pt x="686" y="2091"/>
                  </a:cubicBezTo>
                  <a:cubicBezTo>
                    <a:pt x="1" y="2776"/>
                    <a:pt x="28" y="3896"/>
                    <a:pt x="747" y="4549"/>
                  </a:cubicBezTo>
                  <a:lnTo>
                    <a:pt x="3029" y="6819"/>
                  </a:lnTo>
                  <a:cubicBezTo>
                    <a:pt x="3344" y="7131"/>
                    <a:pt x="3768" y="7308"/>
                    <a:pt x="4214" y="7308"/>
                  </a:cubicBezTo>
                  <a:cubicBezTo>
                    <a:pt x="4218" y="7308"/>
                    <a:pt x="4221" y="7308"/>
                    <a:pt x="4225" y="7308"/>
                  </a:cubicBezTo>
                  <a:cubicBezTo>
                    <a:pt x="4678" y="7308"/>
                    <a:pt x="5116" y="7127"/>
                    <a:pt x="5439" y="6807"/>
                  </a:cubicBezTo>
                  <a:lnTo>
                    <a:pt x="9349" y="2900"/>
                  </a:lnTo>
                  <a:cubicBezTo>
                    <a:pt x="10013" y="2236"/>
                    <a:pt x="10013" y="1161"/>
                    <a:pt x="9349" y="499"/>
                  </a:cubicBezTo>
                  <a:cubicBezTo>
                    <a:pt x="9017" y="167"/>
                    <a:pt x="8581" y="1"/>
                    <a:pt x="814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grpSp>
      <p:grpSp>
        <p:nvGrpSpPr>
          <p:cNvPr id="52" name="Google Shape;9295;p63">
            <a:extLst>
              <a:ext uri="{FF2B5EF4-FFF2-40B4-BE49-F238E27FC236}">
                <a16:creationId xmlns:a16="http://schemas.microsoft.com/office/drawing/2014/main" id="{AB9A8CCB-E136-44A4-BA7C-E815CD7BCB6A}"/>
              </a:ext>
            </a:extLst>
          </p:cNvPr>
          <p:cNvGrpSpPr/>
          <p:nvPr/>
        </p:nvGrpSpPr>
        <p:grpSpPr>
          <a:xfrm>
            <a:off x="1802423" y="6022731"/>
            <a:ext cx="483577" cy="512124"/>
            <a:chOff x="2508825" y="2318350"/>
            <a:chExt cx="297750" cy="295400"/>
          </a:xfrm>
          <a:solidFill>
            <a:schemeClr val="accent2"/>
          </a:solidFill>
        </p:grpSpPr>
        <p:sp>
          <p:nvSpPr>
            <p:cNvPr id="56" name="Google Shape;9296;p63">
              <a:extLst>
                <a:ext uri="{FF2B5EF4-FFF2-40B4-BE49-F238E27FC236}">
                  <a16:creationId xmlns:a16="http://schemas.microsoft.com/office/drawing/2014/main" id="{C91E4BC3-3376-44D7-80B2-BD6089CC7447}"/>
                </a:ext>
              </a:extLst>
            </p:cNvPr>
            <p:cNvSpPr/>
            <p:nvPr/>
          </p:nvSpPr>
          <p:spPr>
            <a:xfrm>
              <a:off x="2508825" y="2318350"/>
              <a:ext cx="297750" cy="295400"/>
            </a:xfrm>
            <a:custGeom>
              <a:avLst/>
              <a:gdLst/>
              <a:ahLst/>
              <a:cxnLst/>
              <a:rect l="l" t="t" r="r" b="b"/>
              <a:pathLst>
                <a:path w="11910" h="11816" extrusionOk="0">
                  <a:moveTo>
                    <a:pt x="5892" y="694"/>
                  </a:moveTo>
                  <a:cubicBezTo>
                    <a:pt x="7625" y="694"/>
                    <a:pt x="9043" y="2112"/>
                    <a:pt x="9043" y="3845"/>
                  </a:cubicBezTo>
                  <a:cubicBezTo>
                    <a:pt x="9043" y="5483"/>
                    <a:pt x="7751" y="6838"/>
                    <a:pt x="6081" y="6932"/>
                  </a:cubicBezTo>
                  <a:cubicBezTo>
                    <a:pt x="6018" y="6932"/>
                    <a:pt x="5987" y="6901"/>
                    <a:pt x="5924" y="6869"/>
                  </a:cubicBezTo>
                  <a:lnTo>
                    <a:pt x="5766" y="6711"/>
                  </a:lnTo>
                  <a:cubicBezTo>
                    <a:pt x="5297" y="6298"/>
                    <a:pt x="4683" y="6101"/>
                    <a:pt x="4072" y="6101"/>
                  </a:cubicBezTo>
                  <a:cubicBezTo>
                    <a:pt x="3985" y="6101"/>
                    <a:pt x="3899" y="6105"/>
                    <a:pt x="3813" y="6113"/>
                  </a:cubicBezTo>
                  <a:cubicBezTo>
                    <a:pt x="3151" y="5577"/>
                    <a:pt x="2773" y="4727"/>
                    <a:pt x="2773" y="3845"/>
                  </a:cubicBezTo>
                  <a:cubicBezTo>
                    <a:pt x="2773" y="2112"/>
                    <a:pt x="4191" y="694"/>
                    <a:pt x="5892" y="694"/>
                  </a:cubicBezTo>
                  <a:close/>
                  <a:moveTo>
                    <a:pt x="4171" y="6822"/>
                  </a:moveTo>
                  <a:cubicBezTo>
                    <a:pt x="4577" y="6822"/>
                    <a:pt x="4979" y="6964"/>
                    <a:pt x="5294" y="7247"/>
                  </a:cubicBezTo>
                  <a:cubicBezTo>
                    <a:pt x="5420" y="7373"/>
                    <a:pt x="5735" y="7657"/>
                    <a:pt x="5892" y="7657"/>
                  </a:cubicBezTo>
                  <a:lnTo>
                    <a:pt x="7972" y="7657"/>
                  </a:lnTo>
                  <a:cubicBezTo>
                    <a:pt x="8192" y="7657"/>
                    <a:pt x="8350" y="7814"/>
                    <a:pt x="8350" y="8003"/>
                  </a:cubicBezTo>
                  <a:cubicBezTo>
                    <a:pt x="8350" y="8192"/>
                    <a:pt x="8192" y="8350"/>
                    <a:pt x="7972" y="8350"/>
                  </a:cubicBezTo>
                  <a:lnTo>
                    <a:pt x="5514" y="8350"/>
                  </a:lnTo>
                  <a:cubicBezTo>
                    <a:pt x="5294" y="8350"/>
                    <a:pt x="5136" y="8507"/>
                    <a:pt x="5136" y="8728"/>
                  </a:cubicBezTo>
                  <a:cubicBezTo>
                    <a:pt x="5136" y="8917"/>
                    <a:pt x="5294" y="9074"/>
                    <a:pt x="5514" y="9074"/>
                  </a:cubicBezTo>
                  <a:lnTo>
                    <a:pt x="8224" y="9074"/>
                  </a:lnTo>
                  <a:cubicBezTo>
                    <a:pt x="8507" y="9074"/>
                    <a:pt x="8759" y="8948"/>
                    <a:pt x="8980" y="8759"/>
                  </a:cubicBezTo>
                  <a:lnTo>
                    <a:pt x="10492" y="7090"/>
                  </a:lnTo>
                  <a:cubicBezTo>
                    <a:pt x="10568" y="7033"/>
                    <a:pt x="10666" y="6987"/>
                    <a:pt x="10766" y="6987"/>
                  </a:cubicBezTo>
                  <a:cubicBezTo>
                    <a:pt x="10833" y="6987"/>
                    <a:pt x="10902" y="7008"/>
                    <a:pt x="10965" y="7058"/>
                  </a:cubicBezTo>
                  <a:cubicBezTo>
                    <a:pt x="11122" y="7184"/>
                    <a:pt x="11185" y="7373"/>
                    <a:pt x="11059" y="7531"/>
                  </a:cubicBezTo>
                  <a:lnTo>
                    <a:pt x="9389" y="9767"/>
                  </a:lnTo>
                  <a:cubicBezTo>
                    <a:pt x="9074" y="10209"/>
                    <a:pt x="8570" y="10492"/>
                    <a:pt x="8035" y="10492"/>
                  </a:cubicBezTo>
                  <a:lnTo>
                    <a:pt x="2773" y="10492"/>
                  </a:lnTo>
                  <a:lnTo>
                    <a:pt x="2773" y="7468"/>
                  </a:lnTo>
                  <a:lnTo>
                    <a:pt x="3025" y="7247"/>
                  </a:lnTo>
                  <a:cubicBezTo>
                    <a:pt x="3356" y="6964"/>
                    <a:pt x="3766" y="6822"/>
                    <a:pt x="4171" y="6822"/>
                  </a:cubicBezTo>
                  <a:close/>
                  <a:moveTo>
                    <a:pt x="1734" y="6932"/>
                  </a:moveTo>
                  <a:cubicBezTo>
                    <a:pt x="1923" y="6932"/>
                    <a:pt x="2080" y="7090"/>
                    <a:pt x="2080" y="7310"/>
                  </a:cubicBezTo>
                  <a:lnTo>
                    <a:pt x="2080" y="10807"/>
                  </a:lnTo>
                  <a:cubicBezTo>
                    <a:pt x="2080" y="10996"/>
                    <a:pt x="1923" y="11154"/>
                    <a:pt x="1734" y="11154"/>
                  </a:cubicBezTo>
                  <a:lnTo>
                    <a:pt x="662" y="11154"/>
                  </a:lnTo>
                  <a:lnTo>
                    <a:pt x="662" y="6932"/>
                  </a:lnTo>
                  <a:close/>
                  <a:moveTo>
                    <a:pt x="5924" y="1"/>
                  </a:moveTo>
                  <a:cubicBezTo>
                    <a:pt x="3844" y="1"/>
                    <a:pt x="2112" y="1734"/>
                    <a:pt x="2112" y="3845"/>
                  </a:cubicBezTo>
                  <a:cubicBezTo>
                    <a:pt x="2112" y="4790"/>
                    <a:pt x="2458" y="5672"/>
                    <a:pt x="3088" y="6396"/>
                  </a:cubicBezTo>
                  <a:cubicBezTo>
                    <a:pt x="2931" y="6459"/>
                    <a:pt x="2773" y="6585"/>
                    <a:pt x="2616" y="6711"/>
                  </a:cubicBezTo>
                  <a:cubicBezTo>
                    <a:pt x="2427" y="6428"/>
                    <a:pt x="2112" y="6270"/>
                    <a:pt x="1765" y="6270"/>
                  </a:cubicBezTo>
                  <a:lnTo>
                    <a:pt x="347" y="6270"/>
                  </a:lnTo>
                  <a:cubicBezTo>
                    <a:pt x="158" y="6270"/>
                    <a:pt x="1" y="6428"/>
                    <a:pt x="1" y="6585"/>
                  </a:cubicBezTo>
                  <a:lnTo>
                    <a:pt x="1" y="11469"/>
                  </a:lnTo>
                  <a:cubicBezTo>
                    <a:pt x="1" y="11658"/>
                    <a:pt x="158" y="11815"/>
                    <a:pt x="347" y="11815"/>
                  </a:cubicBezTo>
                  <a:lnTo>
                    <a:pt x="1765" y="11815"/>
                  </a:lnTo>
                  <a:cubicBezTo>
                    <a:pt x="2238" y="11815"/>
                    <a:pt x="2584" y="11563"/>
                    <a:pt x="2742" y="11122"/>
                  </a:cubicBezTo>
                  <a:lnTo>
                    <a:pt x="8035" y="11122"/>
                  </a:lnTo>
                  <a:cubicBezTo>
                    <a:pt x="8759" y="11122"/>
                    <a:pt x="9515" y="10776"/>
                    <a:pt x="9956" y="10146"/>
                  </a:cubicBezTo>
                  <a:lnTo>
                    <a:pt x="11595" y="7877"/>
                  </a:lnTo>
                  <a:cubicBezTo>
                    <a:pt x="11910" y="7468"/>
                    <a:pt x="11878" y="6838"/>
                    <a:pt x="11437" y="6459"/>
                  </a:cubicBezTo>
                  <a:cubicBezTo>
                    <a:pt x="11249" y="6301"/>
                    <a:pt x="11015" y="6221"/>
                    <a:pt x="10780" y="6221"/>
                  </a:cubicBezTo>
                  <a:cubicBezTo>
                    <a:pt x="10503" y="6221"/>
                    <a:pt x="10224" y="6332"/>
                    <a:pt x="10019" y="6554"/>
                  </a:cubicBezTo>
                  <a:lnTo>
                    <a:pt x="9011" y="7657"/>
                  </a:lnTo>
                  <a:cubicBezTo>
                    <a:pt x="8885" y="7247"/>
                    <a:pt x="8539" y="6932"/>
                    <a:pt x="8098" y="6932"/>
                  </a:cubicBezTo>
                  <a:cubicBezTo>
                    <a:pt x="8287" y="6838"/>
                    <a:pt x="8444" y="6680"/>
                    <a:pt x="8602" y="6522"/>
                  </a:cubicBezTo>
                  <a:cubicBezTo>
                    <a:pt x="9358" y="5798"/>
                    <a:pt x="9767" y="4821"/>
                    <a:pt x="9767" y="3845"/>
                  </a:cubicBezTo>
                  <a:cubicBezTo>
                    <a:pt x="9767" y="1734"/>
                    <a:pt x="8035" y="1"/>
                    <a:pt x="592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8" name="Google Shape;9297;p63">
              <a:extLst>
                <a:ext uri="{FF2B5EF4-FFF2-40B4-BE49-F238E27FC236}">
                  <a16:creationId xmlns:a16="http://schemas.microsoft.com/office/drawing/2014/main" id="{FAC14C52-2D30-4475-AE06-36E9562D29EE}"/>
                </a:ext>
              </a:extLst>
            </p:cNvPr>
            <p:cNvSpPr/>
            <p:nvPr/>
          </p:nvSpPr>
          <p:spPr>
            <a:xfrm>
              <a:off x="2629350" y="2353025"/>
              <a:ext cx="54350" cy="121300"/>
            </a:xfrm>
            <a:custGeom>
              <a:avLst/>
              <a:gdLst/>
              <a:ahLst/>
              <a:cxnLst/>
              <a:rect l="l" t="t" r="r" b="b"/>
              <a:pathLst>
                <a:path w="2174" h="4852" extrusionOk="0">
                  <a:moveTo>
                    <a:pt x="1071" y="0"/>
                  </a:moveTo>
                  <a:cubicBezTo>
                    <a:pt x="882" y="0"/>
                    <a:pt x="725" y="158"/>
                    <a:pt x="725" y="347"/>
                  </a:cubicBezTo>
                  <a:lnTo>
                    <a:pt x="725" y="756"/>
                  </a:lnTo>
                  <a:cubicBezTo>
                    <a:pt x="315" y="914"/>
                    <a:pt x="63" y="1292"/>
                    <a:pt x="63" y="1733"/>
                  </a:cubicBezTo>
                  <a:cubicBezTo>
                    <a:pt x="0" y="2332"/>
                    <a:pt x="473" y="2804"/>
                    <a:pt x="1071" y="2804"/>
                  </a:cubicBezTo>
                  <a:cubicBezTo>
                    <a:pt x="1260" y="2804"/>
                    <a:pt x="1418" y="2962"/>
                    <a:pt x="1418" y="3151"/>
                  </a:cubicBezTo>
                  <a:cubicBezTo>
                    <a:pt x="1418" y="3308"/>
                    <a:pt x="1355" y="3434"/>
                    <a:pt x="1229" y="3466"/>
                  </a:cubicBezTo>
                  <a:cubicBezTo>
                    <a:pt x="1185" y="3492"/>
                    <a:pt x="1140" y="3503"/>
                    <a:pt x="1093" y="3503"/>
                  </a:cubicBezTo>
                  <a:cubicBezTo>
                    <a:pt x="970" y="3503"/>
                    <a:pt x="839" y="3422"/>
                    <a:pt x="725" y="3308"/>
                  </a:cubicBezTo>
                  <a:cubicBezTo>
                    <a:pt x="662" y="3245"/>
                    <a:pt x="575" y="3214"/>
                    <a:pt x="488" y="3214"/>
                  </a:cubicBezTo>
                  <a:cubicBezTo>
                    <a:pt x="402" y="3214"/>
                    <a:pt x="315" y="3245"/>
                    <a:pt x="252" y="3308"/>
                  </a:cubicBezTo>
                  <a:cubicBezTo>
                    <a:pt x="126" y="3434"/>
                    <a:pt x="126" y="3655"/>
                    <a:pt x="252" y="3781"/>
                  </a:cubicBezTo>
                  <a:cubicBezTo>
                    <a:pt x="410" y="3938"/>
                    <a:pt x="567" y="4064"/>
                    <a:pt x="756" y="4096"/>
                  </a:cubicBezTo>
                  <a:lnTo>
                    <a:pt x="756" y="4505"/>
                  </a:lnTo>
                  <a:cubicBezTo>
                    <a:pt x="756" y="4694"/>
                    <a:pt x="914" y="4852"/>
                    <a:pt x="1103" y="4852"/>
                  </a:cubicBezTo>
                  <a:cubicBezTo>
                    <a:pt x="1323" y="4852"/>
                    <a:pt x="1481" y="4694"/>
                    <a:pt x="1481" y="4505"/>
                  </a:cubicBezTo>
                  <a:lnTo>
                    <a:pt x="1481" y="4096"/>
                  </a:lnTo>
                  <a:cubicBezTo>
                    <a:pt x="1481" y="4096"/>
                    <a:pt x="1512" y="4096"/>
                    <a:pt x="1512" y="4064"/>
                  </a:cubicBezTo>
                  <a:cubicBezTo>
                    <a:pt x="1890" y="3907"/>
                    <a:pt x="2142" y="3497"/>
                    <a:pt x="2142" y="3119"/>
                  </a:cubicBezTo>
                  <a:cubicBezTo>
                    <a:pt x="2142" y="2521"/>
                    <a:pt x="1670" y="2079"/>
                    <a:pt x="1103" y="2079"/>
                  </a:cubicBezTo>
                  <a:cubicBezTo>
                    <a:pt x="914" y="2079"/>
                    <a:pt x="756" y="1922"/>
                    <a:pt x="756" y="1733"/>
                  </a:cubicBezTo>
                  <a:cubicBezTo>
                    <a:pt x="756" y="1575"/>
                    <a:pt x="851" y="1449"/>
                    <a:pt x="1008" y="1418"/>
                  </a:cubicBezTo>
                  <a:cubicBezTo>
                    <a:pt x="1047" y="1405"/>
                    <a:pt x="1085" y="1399"/>
                    <a:pt x="1124" y="1399"/>
                  </a:cubicBezTo>
                  <a:cubicBezTo>
                    <a:pt x="1273" y="1399"/>
                    <a:pt x="1418" y="1494"/>
                    <a:pt x="1544" y="1670"/>
                  </a:cubicBezTo>
                  <a:cubicBezTo>
                    <a:pt x="1610" y="1753"/>
                    <a:pt x="1703" y="1792"/>
                    <a:pt x="1795" y="1792"/>
                  </a:cubicBezTo>
                  <a:cubicBezTo>
                    <a:pt x="1876" y="1792"/>
                    <a:pt x="1957" y="1761"/>
                    <a:pt x="2016" y="1701"/>
                  </a:cubicBezTo>
                  <a:cubicBezTo>
                    <a:pt x="2174" y="1575"/>
                    <a:pt x="2174" y="1323"/>
                    <a:pt x="2048" y="1229"/>
                  </a:cubicBezTo>
                  <a:cubicBezTo>
                    <a:pt x="1859" y="977"/>
                    <a:pt x="1670" y="819"/>
                    <a:pt x="1418" y="756"/>
                  </a:cubicBezTo>
                  <a:lnTo>
                    <a:pt x="1418" y="347"/>
                  </a:lnTo>
                  <a:cubicBezTo>
                    <a:pt x="1418" y="158"/>
                    <a:pt x="1260" y="0"/>
                    <a:pt x="107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62" name="Group 3">
            <a:extLst>
              <a:ext uri="{FF2B5EF4-FFF2-40B4-BE49-F238E27FC236}">
                <a16:creationId xmlns:a16="http://schemas.microsoft.com/office/drawing/2014/main" id="{EE05A23E-E846-4BB9-8194-3058E50D6603}"/>
              </a:ext>
            </a:extLst>
          </p:cNvPr>
          <p:cNvGrpSpPr/>
          <p:nvPr/>
        </p:nvGrpSpPr>
        <p:grpSpPr>
          <a:xfrm>
            <a:off x="2549772" y="5363311"/>
            <a:ext cx="527536" cy="465990"/>
            <a:chOff x="5030621" y="2416304"/>
            <a:chExt cx="491140" cy="483407"/>
          </a:xfrm>
          <a:solidFill>
            <a:schemeClr val="accent2"/>
          </a:solidFill>
        </p:grpSpPr>
        <p:sp>
          <p:nvSpPr>
            <p:cNvPr id="66" name="Google Shape;5410;p54">
              <a:extLst>
                <a:ext uri="{FF2B5EF4-FFF2-40B4-BE49-F238E27FC236}">
                  <a16:creationId xmlns:a16="http://schemas.microsoft.com/office/drawing/2014/main" id="{89A81557-1B51-4D69-A8E8-D58A0AD39A72}"/>
                </a:ext>
              </a:extLst>
            </p:cNvPr>
            <p:cNvSpPr/>
            <p:nvPr/>
          </p:nvSpPr>
          <p:spPr>
            <a:xfrm>
              <a:off x="5030621" y="2416304"/>
              <a:ext cx="491140" cy="483407"/>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67" name="Graphic 398">
              <a:extLst>
                <a:ext uri="{FF2B5EF4-FFF2-40B4-BE49-F238E27FC236}">
                  <a16:creationId xmlns:a16="http://schemas.microsoft.com/office/drawing/2014/main" id="{2DCC64EE-9C37-4066-AD62-6DF6CEDA1483}"/>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292297" y="2638630"/>
              <a:ext cx="128788" cy="188689"/>
            </a:xfrm>
            <a:prstGeom prst="rect">
              <a:avLst/>
            </a:prstGeom>
          </p:spPr>
        </p:pic>
      </p:grpSp>
      <p:sp>
        <p:nvSpPr>
          <p:cNvPr id="68" name="Google Shape;5369;p54">
            <a:extLst>
              <a:ext uri="{FF2B5EF4-FFF2-40B4-BE49-F238E27FC236}">
                <a16:creationId xmlns:a16="http://schemas.microsoft.com/office/drawing/2014/main" id="{2B6E706F-058D-4B0B-B507-E507E1910B70}"/>
              </a:ext>
            </a:extLst>
          </p:cNvPr>
          <p:cNvSpPr/>
          <p:nvPr/>
        </p:nvSpPr>
        <p:spPr>
          <a:xfrm>
            <a:off x="2929182" y="4183247"/>
            <a:ext cx="444209" cy="508757"/>
          </a:xfrm>
          <a:custGeom>
            <a:avLst/>
            <a:gdLst/>
            <a:ahLst/>
            <a:cxnLst/>
            <a:rect l="l" t="t" r="r" b="b"/>
            <a:pathLst>
              <a:path w="11059" h="12666" extrusionOk="0">
                <a:moveTo>
                  <a:pt x="4285" y="789"/>
                </a:moveTo>
                <a:cubicBezTo>
                  <a:pt x="4758" y="789"/>
                  <a:pt x="5136" y="1135"/>
                  <a:pt x="5136" y="1608"/>
                </a:cubicBezTo>
                <a:lnTo>
                  <a:pt x="5136" y="4128"/>
                </a:lnTo>
                <a:cubicBezTo>
                  <a:pt x="4190" y="4317"/>
                  <a:pt x="3466" y="5168"/>
                  <a:pt x="3466" y="6144"/>
                </a:cubicBezTo>
                <a:cubicBezTo>
                  <a:pt x="3466" y="6365"/>
                  <a:pt x="3655" y="6585"/>
                  <a:pt x="3907" y="6585"/>
                </a:cubicBezTo>
                <a:cubicBezTo>
                  <a:pt x="4127" y="6585"/>
                  <a:pt x="4285" y="6365"/>
                  <a:pt x="4285" y="6144"/>
                </a:cubicBezTo>
                <a:cubicBezTo>
                  <a:pt x="4285" y="5577"/>
                  <a:pt x="4663" y="5168"/>
                  <a:pt x="5136" y="4947"/>
                </a:cubicBezTo>
                <a:lnTo>
                  <a:pt x="5136" y="8192"/>
                </a:lnTo>
                <a:cubicBezTo>
                  <a:pt x="5136" y="8665"/>
                  <a:pt x="4758" y="9011"/>
                  <a:pt x="4285" y="9011"/>
                </a:cubicBezTo>
                <a:cubicBezTo>
                  <a:pt x="3938" y="9011"/>
                  <a:pt x="3592" y="8791"/>
                  <a:pt x="3497" y="8381"/>
                </a:cubicBezTo>
                <a:cubicBezTo>
                  <a:pt x="3434" y="8318"/>
                  <a:pt x="3277" y="8192"/>
                  <a:pt x="3119" y="8192"/>
                </a:cubicBezTo>
                <a:cubicBezTo>
                  <a:pt x="2962" y="8192"/>
                  <a:pt x="2899" y="8255"/>
                  <a:pt x="2647" y="8255"/>
                </a:cubicBezTo>
                <a:cubicBezTo>
                  <a:pt x="1544" y="8255"/>
                  <a:pt x="1544" y="6617"/>
                  <a:pt x="2647" y="6617"/>
                </a:cubicBezTo>
                <a:cubicBezTo>
                  <a:pt x="2867" y="6617"/>
                  <a:pt x="3025" y="6428"/>
                  <a:pt x="3025" y="6176"/>
                </a:cubicBezTo>
                <a:cubicBezTo>
                  <a:pt x="3025" y="5955"/>
                  <a:pt x="2836" y="5735"/>
                  <a:pt x="2647" y="5735"/>
                </a:cubicBezTo>
                <a:cubicBezTo>
                  <a:pt x="2080" y="5735"/>
                  <a:pt x="1607" y="6018"/>
                  <a:pt x="1292" y="6428"/>
                </a:cubicBezTo>
                <a:cubicBezTo>
                  <a:pt x="1103" y="6270"/>
                  <a:pt x="977" y="6018"/>
                  <a:pt x="977" y="5735"/>
                </a:cubicBezTo>
                <a:cubicBezTo>
                  <a:pt x="977" y="5483"/>
                  <a:pt x="1103" y="5325"/>
                  <a:pt x="1166" y="5199"/>
                </a:cubicBezTo>
                <a:cubicBezTo>
                  <a:pt x="1323" y="5042"/>
                  <a:pt x="1323" y="4790"/>
                  <a:pt x="1166" y="4632"/>
                </a:cubicBezTo>
                <a:cubicBezTo>
                  <a:pt x="662" y="4097"/>
                  <a:pt x="1103" y="3277"/>
                  <a:pt x="1828" y="3277"/>
                </a:cubicBezTo>
                <a:cubicBezTo>
                  <a:pt x="2048" y="3277"/>
                  <a:pt x="2237" y="3340"/>
                  <a:pt x="2395" y="3498"/>
                </a:cubicBezTo>
                <a:cubicBezTo>
                  <a:pt x="2473" y="3577"/>
                  <a:pt x="2584" y="3616"/>
                  <a:pt x="2694" y="3616"/>
                </a:cubicBezTo>
                <a:cubicBezTo>
                  <a:pt x="2804" y="3616"/>
                  <a:pt x="2914" y="3577"/>
                  <a:pt x="2993" y="3498"/>
                </a:cubicBezTo>
                <a:cubicBezTo>
                  <a:pt x="3151" y="3340"/>
                  <a:pt x="3151" y="3057"/>
                  <a:pt x="2993" y="2899"/>
                </a:cubicBezTo>
                <a:cubicBezTo>
                  <a:pt x="2678" y="2584"/>
                  <a:pt x="2269" y="2427"/>
                  <a:pt x="1828" y="2427"/>
                </a:cubicBezTo>
                <a:cubicBezTo>
                  <a:pt x="1828" y="1954"/>
                  <a:pt x="2174" y="1608"/>
                  <a:pt x="2647" y="1608"/>
                </a:cubicBezTo>
                <a:cubicBezTo>
                  <a:pt x="2773" y="1608"/>
                  <a:pt x="2836" y="1639"/>
                  <a:pt x="2962" y="1702"/>
                </a:cubicBezTo>
                <a:cubicBezTo>
                  <a:pt x="3000" y="1713"/>
                  <a:pt x="3040" y="1718"/>
                  <a:pt x="3079" y="1718"/>
                </a:cubicBezTo>
                <a:cubicBezTo>
                  <a:pt x="3264" y="1718"/>
                  <a:pt x="3445" y="1601"/>
                  <a:pt x="3497" y="1419"/>
                </a:cubicBezTo>
                <a:cubicBezTo>
                  <a:pt x="3592" y="1072"/>
                  <a:pt x="3938" y="789"/>
                  <a:pt x="4285" y="789"/>
                </a:cubicBezTo>
                <a:close/>
                <a:moveTo>
                  <a:pt x="6711" y="915"/>
                </a:moveTo>
                <a:cubicBezTo>
                  <a:pt x="7057" y="915"/>
                  <a:pt x="7404" y="1135"/>
                  <a:pt x="7498" y="1545"/>
                </a:cubicBezTo>
                <a:cubicBezTo>
                  <a:pt x="7547" y="1715"/>
                  <a:pt x="7708" y="1828"/>
                  <a:pt x="7880" y="1828"/>
                </a:cubicBezTo>
                <a:cubicBezTo>
                  <a:pt x="7931" y="1828"/>
                  <a:pt x="7983" y="1818"/>
                  <a:pt x="8034" y="1797"/>
                </a:cubicBezTo>
                <a:cubicBezTo>
                  <a:pt x="8160" y="1765"/>
                  <a:pt x="8223" y="1734"/>
                  <a:pt x="8349" y="1734"/>
                </a:cubicBezTo>
                <a:cubicBezTo>
                  <a:pt x="8822" y="1734"/>
                  <a:pt x="9168" y="2080"/>
                  <a:pt x="9168" y="2553"/>
                </a:cubicBezTo>
                <a:cubicBezTo>
                  <a:pt x="8759" y="2553"/>
                  <a:pt x="8318" y="2710"/>
                  <a:pt x="8003" y="3025"/>
                </a:cubicBezTo>
                <a:cubicBezTo>
                  <a:pt x="7845" y="3183"/>
                  <a:pt x="7845" y="3467"/>
                  <a:pt x="8003" y="3624"/>
                </a:cubicBezTo>
                <a:cubicBezTo>
                  <a:pt x="8081" y="3703"/>
                  <a:pt x="8192" y="3742"/>
                  <a:pt x="8302" y="3742"/>
                </a:cubicBezTo>
                <a:cubicBezTo>
                  <a:pt x="8412" y="3742"/>
                  <a:pt x="8522" y="3703"/>
                  <a:pt x="8601" y="3624"/>
                </a:cubicBezTo>
                <a:cubicBezTo>
                  <a:pt x="8759" y="3467"/>
                  <a:pt x="8948" y="3372"/>
                  <a:pt x="9168" y="3372"/>
                </a:cubicBezTo>
                <a:cubicBezTo>
                  <a:pt x="9893" y="3372"/>
                  <a:pt x="10271" y="4191"/>
                  <a:pt x="9798" y="4758"/>
                </a:cubicBezTo>
                <a:cubicBezTo>
                  <a:pt x="9735" y="4853"/>
                  <a:pt x="9735" y="5073"/>
                  <a:pt x="9830" y="5231"/>
                </a:cubicBezTo>
                <a:cubicBezTo>
                  <a:pt x="9956" y="5357"/>
                  <a:pt x="10050" y="5514"/>
                  <a:pt x="10050" y="5798"/>
                </a:cubicBezTo>
                <a:cubicBezTo>
                  <a:pt x="10050" y="6050"/>
                  <a:pt x="9924" y="6302"/>
                  <a:pt x="9735" y="6459"/>
                </a:cubicBezTo>
                <a:cubicBezTo>
                  <a:pt x="9420" y="6050"/>
                  <a:pt x="8948" y="5798"/>
                  <a:pt x="8381" y="5798"/>
                </a:cubicBezTo>
                <a:cubicBezTo>
                  <a:pt x="8160" y="5798"/>
                  <a:pt x="8003" y="5987"/>
                  <a:pt x="8003" y="6207"/>
                </a:cubicBezTo>
                <a:cubicBezTo>
                  <a:pt x="8003" y="6459"/>
                  <a:pt x="8192" y="6648"/>
                  <a:pt x="8381" y="6648"/>
                </a:cubicBezTo>
                <a:cubicBezTo>
                  <a:pt x="9483" y="6648"/>
                  <a:pt x="9483" y="8318"/>
                  <a:pt x="8381" y="8318"/>
                </a:cubicBezTo>
                <a:cubicBezTo>
                  <a:pt x="8255" y="8318"/>
                  <a:pt x="8192" y="8255"/>
                  <a:pt x="8066" y="8224"/>
                </a:cubicBezTo>
                <a:cubicBezTo>
                  <a:pt x="8021" y="8211"/>
                  <a:pt x="7976" y="8205"/>
                  <a:pt x="7931" y="8205"/>
                </a:cubicBezTo>
                <a:cubicBezTo>
                  <a:pt x="7752" y="8205"/>
                  <a:pt x="7580" y="8306"/>
                  <a:pt x="7530" y="8507"/>
                </a:cubicBezTo>
                <a:cubicBezTo>
                  <a:pt x="7435" y="8854"/>
                  <a:pt x="7089" y="9137"/>
                  <a:pt x="6742" y="9137"/>
                </a:cubicBezTo>
                <a:cubicBezTo>
                  <a:pt x="6270" y="9137"/>
                  <a:pt x="5892" y="8759"/>
                  <a:pt x="5892" y="8318"/>
                </a:cubicBezTo>
                <a:lnTo>
                  <a:pt x="5892" y="5073"/>
                </a:lnTo>
                <a:cubicBezTo>
                  <a:pt x="6364" y="5231"/>
                  <a:pt x="6742" y="5703"/>
                  <a:pt x="6742" y="6270"/>
                </a:cubicBezTo>
                <a:cubicBezTo>
                  <a:pt x="6742" y="6491"/>
                  <a:pt x="6931" y="6680"/>
                  <a:pt x="7120" y="6680"/>
                </a:cubicBezTo>
                <a:cubicBezTo>
                  <a:pt x="7341" y="6680"/>
                  <a:pt x="7530" y="6491"/>
                  <a:pt x="7530" y="6270"/>
                </a:cubicBezTo>
                <a:cubicBezTo>
                  <a:pt x="7530" y="5262"/>
                  <a:pt x="6805" y="4412"/>
                  <a:pt x="5860" y="4254"/>
                </a:cubicBezTo>
                <a:lnTo>
                  <a:pt x="5860" y="1734"/>
                </a:lnTo>
                <a:cubicBezTo>
                  <a:pt x="5860" y="1261"/>
                  <a:pt x="6207" y="915"/>
                  <a:pt x="6711" y="915"/>
                </a:cubicBezTo>
                <a:close/>
                <a:moveTo>
                  <a:pt x="5514" y="9358"/>
                </a:moveTo>
                <a:cubicBezTo>
                  <a:pt x="5829" y="9736"/>
                  <a:pt x="6270" y="9925"/>
                  <a:pt x="6774" y="9925"/>
                </a:cubicBezTo>
                <a:lnTo>
                  <a:pt x="6774" y="10209"/>
                </a:lnTo>
                <a:lnTo>
                  <a:pt x="4285" y="10209"/>
                </a:lnTo>
                <a:lnTo>
                  <a:pt x="4285" y="9925"/>
                </a:lnTo>
                <a:cubicBezTo>
                  <a:pt x="4789" y="9925"/>
                  <a:pt x="5230" y="9673"/>
                  <a:pt x="5514" y="9358"/>
                </a:cubicBezTo>
                <a:close/>
                <a:moveTo>
                  <a:pt x="6648" y="11028"/>
                </a:moveTo>
                <a:cubicBezTo>
                  <a:pt x="6522" y="11500"/>
                  <a:pt x="6049" y="11847"/>
                  <a:pt x="5514" y="11847"/>
                </a:cubicBezTo>
                <a:cubicBezTo>
                  <a:pt x="4978" y="11847"/>
                  <a:pt x="4537" y="11500"/>
                  <a:pt x="4316" y="11028"/>
                </a:cubicBezTo>
                <a:close/>
                <a:moveTo>
                  <a:pt x="4285" y="1"/>
                </a:moveTo>
                <a:cubicBezTo>
                  <a:pt x="3686" y="1"/>
                  <a:pt x="3151" y="316"/>
                  <a:pt x="2867" y="820"/>
                </a:cubicBezTo>
                <a:cubicBezTo>
                  <a:pt x="2796" y="811"/>
                  <a:pt x="2724" y="806"/>
                  <a:pt x="2654" y="806"/>
                </a:cubicBezTo>
                <a:cubicBezTo>
                  <a:pt x="1762" y="806"/>
                  <a:pt x="977" y="1526"/>
                  <a:pt x="977" y="2490"/>
                </a:cubicBezTo>
                <a:lnTo>
                  <a:pt x="977" y="2679"/>
                </a:lnTo>
                <a:cubicBezTo>
                  <a:pt x="851" y="2742"/>
                  <a:pt x="756" y="2836"/>
                  <a:pt x="630" y="2962"/>
                </a:cubicBezTo>
                <a:cubicBezTo>
                  <a:pt x="63" y="3498"/>
                  <a:pt x="0" y="4286"/>
                  <a:pt x="347" y="4947"/>
                </a:cubicBezTo>
                <a:cubicBezTo>
                  <a:pt x="189" y="5199"/>
                  <a:pt x="126" y="5514"/>
                  <a:pt x="126" y="5766"/>
                </a:cubicBezTo>
                <a:cubicBezTo>
                  <a:pt x="126" y="6365"/>
                  <a:pt x="441" y="6932"/>
                  <a:pt x="945" y="7184"/>
                </a:cubicBezTo>
                <a:cubicBezTo>
                  <a:pt x="819" y="8192"/>
                  <a:pt x="1576" y="9043"/>
                  <a:pt x="2584" y="9043"/>
                </a:cubicBezTo>
                <a:lnTo>
                  <a:pt x="2836" y="9043"/>
                </a:lnTo>
                <a:cubicBezTo>
                  <a:pt x="2993" y="9326"/>
                  <a:pt x="3182" y="9515"/>
                  <a:pt x="3434" y="9673"/>
                </a:cubicBezTo>
                <a:lnTo>
                  <a:pt x="3434" y="10587"/>
                </a:lnTo>
                <a:cubicBezTo>
                  <a:pt x="3434" y="11721"/>
                  <a:pt x="4379" y="12666"/>
                  <a:pt x="5514" y="12666"/>
                </a:cubicBezTo>
                <a:cubicBezTo>
                  <a:pt x="6648" y="12666"/>
                  <a:pt x="7593" y="11721"/>
                  <a:pt x="7593" y="10587"/>
                </a:cubicBezTo>
                <a:lnTo>
                  <a:pt x="7593" y="9673"/>
                </a:lnTo>
                <a:cubicBezTo>
                  <a:pt x="7845" y="9515"/>
                  <a:pt x="8066" y="9326"/>
                  <a:pt x="8192" y="9043"/>
                </a:cubicBezTo>
                <a:lnTo>
                  <a:pt x="8444" y="9043"/>
                </a:lnTo>
                <a:cubicBezTo>
                  <a:pt x="9420" y="9043"/>
                  <a:pt x="10208" y="8129"/>
                  <a:pt x="10082" y="7153"/>
                </a:cubicBezTo>
                <a:cubicBezTo>
                  <a:pt x="10586" y="6869"/>
                  <a:pt x="10901" y="6333"/>
                  <a:pt x="10901" y="5735"/>
                </a:cubicBezTo>
                <a:cubicBezTo>
                  <a:pt x="10901" y="5451"/>
                  <a:pt x="10838" y="5136"/>
                  <a:pt x="10680" y="4916"/>
                </a:cubicBezTo>
                <a:cubicBezTo>
                  <a:pt x="11059" y="4317"/>
                  <a:pt x="10933" y="3498"/>
                  <a:pt x="10428" y="2962"/>
                </a:cubicBezTo>
                <a:cubicBezTo>
                  <a:pt x="10302" y="2836"/>
                  <a:pt x="10208" y="2742"/>
                  <a:pt x="10082" y="2679"/>
                </a:cubicBezTo>
                <a:lnTo>
                  <a:pt x="10082" y="2490"/>
                </a:lnTo>
                <a:cubicBezTo>
                  <a:pt x="10082" y="1576"/>
                  <a:pt x="9326" y="820"/>
                  <a:pt x="8444" y="820"/>
                </a:cubicBezTo>
                <a:lnTo>
                  <a:pt x="8192" y="820"/>
                </a:lnTo>
                <a:cubicBezTo>
                  <a:pt x="7908" y="316"/>
                  <a:pt x="7372" y="1"/>
                  <a:pt x="6774" y="1"/>
                </a:cubicBezTo>
                <a:cubicBezTo>
                  <a:pt x="6270" y="1"/>
                  <a:pt x="5829" y="222"/>
                  <a:pt x="5514" y="537"/>
                </a:cubicBezTo>
                <a:cubicBezTo>
                  <a:pt x="5199" y="190"/>
                  <a:pt x="4758" y="1"/>
                  <a:pt x="428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13376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B36BB9A-ABC1-4773-9ED6-EC16CAEA5654}"/>
              </a:ext>
            </a:extLst>
          </p:cNvPr>
          <p:cNvSpPr>
            <a:spLocks noGrp="1"/>
          </p:cNvSpPr>
          <p:nvPr>
            <p:ph type="title"/>
          </p:nvPr>
        </p:nvSpPr>
        <p:spPr>
          <a:xfrm>
            <a:off x="993429" y="2489367"/>
            <a:ext cx="10335261" cy="2443186"/>
          </a:xfrm>
        </p:spPr>
        <p:txBody>
          <a:bodyPr/>
          <a:lstStyle/>
          <a:p>
            <a:pPr algn="ctr"/>
            <a:r>
              <a:rPr lang="ru-RU" dirty="0"/>
              <a:t/>
            </a:r>
            <a:br>
              <a:rPr lang="ru-RU" dirty="0"/>
            </a:br>
            <a:r>
              <a:rPr lang="ru-RU" dirty="0"/>
              <a:t>Дякую за </a:t>
            </a:r>
            <a:r>
              <a:rPr lang="ru-RU" dirty="0" smtClean="0"/>
              <a:t>увагу</a:t>
            </a:r>
            <a:endParaRPr lang="ru-RU" dirty="0"/>
          </a:p>
        </p:txBody>
      </p:sp>
    </p:spTree>
    <p:extLst>
      <p:ext uri="{BB962C8B-B14F-4D97-AF65-F5344CB8AC3E}">
        <p14:creationId xmlns:p14="http://schemas.microsoft.com/office/powerpoint/2010/main" val="3925177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1392"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3D34545-74AF-4340-8844-095E97A662EB}"/>
              </a:ext>
            </a:extLst>
          </p:cNvPr>
          <p:cNvSpPr>
            <a:spLocks noGrp="1"/>
          </p:cNvSpPr>
          <p:nvPr>
            <p:ph type="body" sz="quarter" idx="11"/>
          </p:nvPr>
        </p:nvSpPr>
        <p:spPr>
          <a:xfrm>
            <a:off x="298938" y="1450731"/>
            <a:ext cx="11570677" cy="4870938"/>
          </a:xfrm>
        </p:spPr>
        <p:txBody>
          <a:bodyPr/>
          <a:lstStyle/>
          <a:p>
            <a:pPr lvl="0" algn="just"/>
            <a:r>
              <a:rPr lang="uk-UA" dirty="0" smtClean="0"/>
              <a:t>	</a:t>
            </a:r>
            <a:r>
              <a:rPr lang="uk-UA" sz="1800" dirty="0" smtClean="0"/>
              <a:t>Відповідно </a:t>
            </a:r>
            <a:r>
              <a:rPr lang="uk-UA" sz="1800" dirty="0"/>
              <a:t>до </a:t>
            </a:r>
            <a:r>
              <a:rPr lang="uk-UA" sz="1800" dirty="0">
                <a:solidFill>
                  <a:srgbClr val="0091D7"/>
                </a:solidFill>
              </a:rPr>
              <a:t>Угоди про асоціацію </a:t>
            </a:r>
            <a:r>
              <a:rPr lang="uk-UA" sz="1800" dirty="0"/>
              <a:t>між Україною, з однієї сторони, та Європейським Союзом, Європейським співтовариством з атомної енергії і їхніми державами-членами, з іншої сторони, Україною взято зобов’язання в частині гармонізації національного законодавства з вимогами європейського законодавства, зокрема у сферах бухгалтерського обліку та аудиту</a:t>
            </a:r>
            <a:r>
              <a:rPr lang="uk-UA" sz="1800" dirty="0" smtClean="0"/>
              <a:t>.</a:t>
            </a:r>
          </a:p>
          <a:p>
            <a:pPr lvl="0" algn="just"/>
            <a:r>
              <a:rPr lang="uk-UA" sz="1800" dirty="0" smtClean="0"/>
              <a:t>	</a:t>
            </a:r>
          </a:p>
          <a:p>
            <a:pPr lvl="0" algn="just"/>
            <a:r>
              <a:rPr lang="uk-UA" sz="1800" dirty="0" smtClean="0"/>
              <a:t>	Надання </a:t>
            </a:r>
            <a:r>
              <a:rPr lang="uk-UA" sz="1800" dirty="0"/>
              <a:t>Україні </a:t>
            </a:r>
            <a:r>
              <a:rPr lang="uk-UA" sz="1800" dirty="0">
                <a:solidFill>
                  <a:srgbClr val="0091D7"/>
                </a:solidFill>
              </a:rPr>
              <a:t>23 червня 2022 </a:t>
            </a:r>
            <a:r>
              <a:rPr lang="uk-UA" sz="1800" dirty="0"/>
              <a:t>року статусу кандидата на вступ до Європейського Союзу юридично закріпило на загальноєвропейському рівні українські прагнення щодо незворотності цивілізаційного вибору. Дієвим аргументом у багаторічних переговорах щодо надання цього статусу стала саме суспільна підтримка цього інтеграційного курсу як єдино бажаного для громадян України. </a:t>
            </a:r>
            <a:endParaRPr lang="en-US" sz="1800" dirty="0"/>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dirty="0"/>
              <a:t>Європейська інтеграція</a:t>
            </a:r>
            <a:endParaRPr lang="en-US" dirty="0"/>
          </a:p>
        </p:txBody>
      </p:sp>
      <p:sp>
        <p:nvSpPr>
          <p:cNvPr id="9" name="Slide Number Placeholder 8">
            <a:extLst>
              <a:ext uri="{FF2B5EF4-FFF2-40B4-BE49-F238E27FC236}">
                <a16:creationId xmlns:a16="http://schemas.microsoft.com/office/drawing/2014/main" id="{C8BE0309-396B-4016-8AFD-7F8A65A02044}"/>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3</a:t>
            </a:fld>
            <a:endParaRPr lang="uk-UA" sz="900" dirty="0">
              <a:latin typeface="+mn-lt"/>
            </a:endParaRPr>
          </a:p>
        </p:txBody>
      </p:sp>
    </p:spTree>
    <p:extLst>
      <p:ext uri="{BB962C8B-B14F-4D97-AF65-F5344CB8AC3E}">
        <p14:creationId xmlns:p14="http://schemas.microsoft.com/office/powerpoint/2010/main" val="679444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5257"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3D34545-74AF-4340-8844-095E97A662EB}"/>
              </a:ext>
            </a:extLst>
          </p:cNvPr>
          <p:cNvSpPr>
            <a:spLocks noGrp="1"/>
          </p:cNvSpPr>
          <p:nvPr>
            <p:ph type="body" sz="quarter" idx="11"/>
          </p:nvPr>
        </p:nvSpPr>
        <p:spPr>
          <a:xfrm>
            <a:off x="4721470" y="1292468"/>
            <a:ext cx="7060222" cy="5241143"/>
          </a:xfrm>
        </p:spPr>
        <p:txBody>
          <a:bodyPr/>
          <a:lstStyle/>
          <a:p>
            <a:pPr lvl="0" algn="just"/>
            <a:r>
              <a:rPr lang="ru-RU" dirty="0" smtClean="0"/>
              <a:t>	У </a:t>
            </a:r>
            <a:r>
              <a:rPr lang="ru-RU" dirty="0">
                <a:solidFill>
                  <a:srgbClr val="0091D7"/>
                </a:solidFill>
              </a:rPr>
              <a:t>2012</a:t>
            </a:r>
            <a:r>
              <a:rPr lang="ru-RU" dirty="0"/>
              <a:t> році імплементовано положення Регламенту ЄС № 1606/2002 щодо застосування в Україні міжнародних стандартів фінансової </a:t>
            </a:r>
            <a:r>
              <a:rPr lang="ru-RU" dirty="0" smtClean="0"/>
              <a:t>звітності.</a:t>
            </a:r>
            <a:endParaRPr lang="uk-UA" dirty="0"/>
          </a:p>
          <a:p>
            <a:pPr lvl="0" algn="just"/>
            <a:r>
              <a:rPr lang="ru-RU" dirty="0" smtClean="0"/>
              <a:t>	На </a:t>
            </a:r>
            <a:r>
              <a:rPr lang="ru-RU" dirty="0"/>
              <a:t>сьогодні на основі МСФЗ  і законодавства Європейського Союзу у сфері бухгалтерського обліку розроблено та затверджено </a:t>
            </a:r>
            <a:r>
              <a:rPr lang="ru-RU" dirty="0">
                <a:solidFill>
                  <a:srgbClr val="0091D7"/>
                </a:solidFill>
              </a:rPr>
              <a:t>30</a:t>
            </a:r>
            <a:r>
              <a:rPr lang="ru-RU" dirty="0"/>
              <a:t> національних положень (стандартів) бухгалтерського обліку (НП(С)БО).</a:t>
            </a:r>
            <a:endParaRPr lang="uk-UA" dirty="0"/>
          </a:p>
          <a:p>
            <a:pPr lvl="0" algn="just"/>
            <a:r>
              <a:rPr lang="uk-UA" dirty="0" smtClean="0"/>
              <a:t>	Міністерством </a:t>
            </a:r>
            <a:r>
              <a:rPr lang="uk-UA" dirty="0"/>
              <a:t>фінансів України здійснено поступову імплементацію Директиви Європейського Парламенту та Ради ЄС від 26.06.2013 № 2013/34/ЄС про річну фінансову звітність, консолідовану фінансову звітність та пов’язану звітність певних типів </a:t>
            </a:r>
            <a:r>
              <a:rPr lang="uk-UA" dirty="0" smtClean="0"/>
              <a:t>підприємств.</a:t>
            </a:r>
          </a:p>
          <a:p>
            <a:pPr lvl="0" algn="just"/>
            <a:r>
              <a:rPr lang="uk-UA" dirty="0" smtClean="0"/>
              <a:t>	З </a:t>
            </a:r>
            <a:r>
              <a:rPr lang="uk-UA" dirty="0"/>
              <a:t>метою подальшої гармонізації національного законодавства у сфері бухгалтерського обліку із законодавством ЄС у цій сфері </a:t>
            </a:r>
            <a:r>
              <a:rPr lang="uk-UA" dirty="0">
                <a:solidFill>
                  <a:srgbClr val="0091D7"/>
                </a:solidFill>
              </a:rPr>
              <a:t>01 січня 2018 </a:t>
            </a:r>
            <a:r>
              <a:rPr lang="uk-UA" dirty="0"/>
              <a:t>року набули чинності зміни до Закону про бухгалтерський </a:t>
            </a:r>
            <a:r>
              <a:rPr lang="uk-UA" dirty="0" smtClean="0"/>
              <a:t>облік (</a:t>
            </a:r>
            <a:r>
              <a:rPr lang="uk-UA" dirty="0" smtClean="0"/>
              <a:t>від</a:t>
            </a:r>
            <a:r>
              <a:rPr lang="en-US" dirty="0" smtClean="0"/>
              <a:t> </a:t>
            </a:r>
            <a:r>
              <a:rPr lang="ru-RU" dirty="0" smtClean="0"/>
              <a:t>5 </a:t>
            </a:r>
            <a:r>
              <a:rPr lang="ru-RU" dirty="0" smtClean="0"/>
              <a:t>жовтня </a:t>
            </a:r>
            <a:r>
              <a:rPr lang="ru-RU" dirty="0"/>
              <a:t>2017 </a:t>
            </a:r>
            <a:r>
              <a:rPr lang="ru-RU" dirty="0" smtClean="0"/>
              <a:t>року №2164-VIII</a:t>
            </a:r>
            <a:r>
              <a:rPr lang="uk-UA" dirty="0" smtClean="0"/>
              <a:t>)</a:t>
            </a:r>
            <a:endParaRPr lang="en-US" dirty="0"/>
          </a:p>
        </p:txBody>
      </p:sp>
      <p:pic>
        <p:nvPicPr>
          <p:cNvPr id="8" name="Picture Placeholder 7">
            <a:extLst>
              <a:ext uri="{FF2B5EF4-FFF2-40B4-BE49-F238E27FC236}">
                <a16:creationId xmlns:a16="http://schemas.microsoft.com/office/drawing/2014/main" id="{4940BC06-71FA-4D5A-98C2-691E5CD1060F}"/>
              </a:ext>
            </a:extLst>
          </p:cNvPr>
          <p:cNvPicPr>
            <a:picLocks noGrp="1" noChangeAspect="1"/>
          </p:cNvPicPr>
          <p:nvPr>
            <p:ph type="pic" sz="quarter" idx="12"/>
          </p:nvPr>
        </p:nvPicPr>
        <p:blipFill>
          <a:blip r:embed="rId6"/>
          <a:srcRect l="20781" r="20781"/>
          <a:stretch>
            <a:fillRect/>
          </a:stretch>
        </p:blipFill>
        <p:spPr>
          <a:xfrm>
            <a:off x="695325" y="1369414"/>
            <a:ext cx="3893544" cy="4846747"/>
          </a:xfrm>
        </p:spPr>
      </p:pic>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ru-RU" dirty="0" smtClean="0"/>
              <a:t>Реформування бухгалтерського обліку</a:t>
            </a:r>
            <a:endParaRPr lang="en-US" dirty="0"/>
          </a:p>
        </p:txBody>
      </p:sp>
      <p:sp>
        <p:nvSpPr>
          <p:cNvPr id="9" name="Slide Number Placeholder 8">
            <a:extLst>
              <a:ext uri="{FF2B5EF4-FFF2-40B4-BE49-F238E27FC236}">
                <a16:creationId xmlns:a16="http://schemas.microsoft.com/office/drawing/2014/main" id="{C8BE0309-396B-4016-8AFD-7F8A65A02044}"/>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4</a:t>
            </a:fld>
            <a:endParaRPr lang="uk-UA" sz="900" dirty="0">
              <a:latin typeface="+mn-lt"/>
            </a:endParaRPr>
          </a:p>
        </p:txBody>
      </p:sp>
    </p:spTree>
    <p:extLst>
      <p:ext uri="{BB962C8B-B14F-4D97-AF65-F5344CB8AC3E}">
        <p14:creationId xmlns:p14="http://schemas.microsoft.com/office/powerpoint/2010/main" val="2753795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6278"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ru-RU" dirty="0"/>
              <a:t>Реформування бухгалтерського обліку</a:t>
            </a:r>
            <a:endParaRPr lang="en-US" dirty="0"/>
          </a:p>
        </p:txBody>
      </p:sp>
      <p:sp>
        <p:nvSpPr>
          <p:cNvPr id="145" name="Title 2">
            <a:extLst>
              <a:ext uri="{FF2B5EF4-FFF2-40B4-BE49-F238E27FC236}">
                <a16:creationId xmlns:a16="http://schemas.microsoft.com/office/drawing/2014/main" id="{70DDB528-1C62-4756-A2FD-3EC337D8551F}"/>
              </a:ext>
            </a:extLst>
          </p:cNvPr>
          <p:cNvSpPr txBox="1">
            <a:spLocks/>
          </p:cNvSpPr>
          <p:nvPr/>
        </p:nvSpPr>
        <p:spPr>
          <a:xfrm>
            <a:off x="2861370" y="3086165"/>
            <a:ext cx="8865222"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endParaRPr lang="uk-UA" sz="1600" dirty="0">
              <a:latin typeface="+mn-lt"/>
            </a:endParaRPr>
          </a:p>
        </p:txBody>
      </p:sp>
      <p:grpSp>
        <p:nvGrpSpPr>
          <p:cNvPr id="9" name="Group 8">
            <a:extLst>
              <a:ext uri="{FF2B5EF4-FFF2-40B4-BE49-F238E27FC236}">
                <a16:creationId xmlns:a16="http://schemas.microsoft.com/office/drawing/2014/main" id="{EB2389AA-B6C3-4027-BC78-C2A8F62F4A23}"/>
              </a:ext>
            </a:extLst>
          </p:cNvPr>
          <p:cNvGrpSpPr/>
          <p:nvPr/>
        </p:nvGrpSpPr>
        <p:grpSpPr>
          <a:xfrm>
            <a:off x="90855" y="4216309"/>
            <a:ext cx="11635737" cy="595642"/>
            <a:chOff x="0" y="3931587"/>
            <a:chExt cx="11739175" cy="595642"/>
          </a:xfrm>
        </p:grpSpPr>
        <p:grpSp>
          <p:nvGrpSpPr>
            <p:cNvPr id="129" name="Group 128">
              <a:extLst>
                <a:ext uri="{FF2B5EF4-FFF2-40B4-BE49-F238E27FC236}">
                  <a16:creationId xmlns:a16="http://schemas.microsoft.com/office/drawing/2014/main" id="{34F3260E-81EA-4DD5-8FE8-B2F0E75C0276}"/>
                </a:ext>
              </a:extLst>
            </p:cNvPr>
            <p:cNvGrpSpPr/>
            <p:nvPr/>
          </p:nvGrpSpPr>
          <p:grpSpPr>
            <a:xfrm>
              <a:off x="0" y="4021329"/>
              <a:ext cx="2122178" cy="505900"/>
              <a:chOff x="0" y="1535544"/>
              <a:chExt cx="2122178" cy="505900"/>
            </a:xfrm>
          </p:grpSpPr>
          <p:sp>
            <p:nvSpPr>
              <p:cNvPr id="130" name="Freeform: Shape 129">
                <a:extLst>
                  <a:ext uri="{FF2B5EF4-FFF2-40B4-BE49-F238E27FC236}">
                    <a16:creationId xmlns:a16="http://schemas.microsoft.com/office/drawing/2014/main" id="{846BB7FB-8122-4B9C-B0AB-FE349CF31C55}"/>
                  </a:ext>
                </a:extLst>
              </p:cNvPr>
              <p:cNvSpPr/>
              <p:nvPr/>
            </p:nvSpPr>
            <p:spPr>
              <a:xfrm>
                <a:off x="0" y="1535544"/>
                <a:ext cx="2122178" cy="505900"/>
              </a:xfrm>
              <a:custGeom>
                <a:avLst/>
                <a:gdLst>
                  <a:gd name="connsiteX0" fmla="*/ 0 w 2122178"/>
                  <a:gd name="connsiteY0" fmla="*/ 0 h 505900"/>
                  <a:gd name="connsiteX1" fmla="*/ 63281 w 2122178"/>
                  <a:gd name="connsiteY1" fmla="*/ 0 h 505900"/>
                  <a:gd name="connsiteX2" fmla="*/ 305196 w 2122178"/>
                  <a:gd name="connsiteY2" fmla="*/ 0 h 505900"/>
                  <a:gd name="connsiteX3" fmla="*/ 598178 w 2122178"/>
                  <a:gd name="connsiteY3" fmla="*/ 0 h 505900"/>
                  <a:gd name="connsiteX4" fmla="*/ 840093 w 2122178"/>
                  <a:gd name="connsiteY4" fmla="*/ 0 h 505900"/>
                  <a:gd name="connsiteX5" fmla="*/ 1587281 w 2122178"/>
                  <a:gd name="connsiteY5" fmla="*/ 0 h 505900"/>
                  <a:gd name="connsiteX6" fmla="*/ 2122178 w 2122178"/>
                  <a:gd name="connsiteY6" fmla="*/ 0 h 505900"/>
                  <a:gd name="connsiteX7" fmla="*/ 1616277 w 2122178"/>
                  <a:gd name="connsiteY7" fmla="*/ 505900 h 505900"/>
                  <a:gd name="connsiteX8" fmla="*/ 1081379 w 2122178"/>
                  <a:gd name="connsiteY8" fmla="*/ 505900 h 505900"/>
                  <a:gd name="connsiteX9" fmla="*/ 334193 w 2122178"/>
                  <a:gd name="connsiteY9" fmla="*/ 505900 h 505900"/>
                  <a:gd name="connsiteX10" fmla="*/ 92277 w 2122178"/>
                  <a:gd name="connsiteY10" fmla="*/ 505900 h 505900"/>
                  <a:gd name="connsiteX11" fmla="*/ 0 w 2122178"/>
                  <a:gd name="connsiteY11" fmla="*/ 505900 h 50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22178" h="505900">
                    <a:moveTo>
                      <a:pt x="0" y="0"/>
                    </a:moveTo>
                    <a:lnTo>
                      <a:pt x="63281" y="0"/>
                    </a:lnTo>
                    <a:lnTo>
                      <a:pt x="305196" y="0"/>
                    </a:lnTo>
                    <a:lnTo>
                      <a:pt x="598178" y="0"/>
                    </a:lnTo>
                    <a:lnTo>
                      <a:pt x="840093" y="0"/>
                    </a:lnTo>
                    <a:lnTo>
                      <a:pt x="1587281" y="0"/>
                    </a:lnTo>
                    <a:lnTo>
                      <a:pt x="2122178" y="0"/>
                    </a:lnTo>
                    <a:lnTo>
                      <a:pt x="1616277" y="505900"/>
                    </a:lnTo>
                    <a:lnTo>
                      <a:pt x="1081379" y="505900"/>
                    </a:lnTo>
                    <a:lnTo>
                      <a:pt x="334193" y="505900"/>
                    </a:lnTo>
                    <a:lnTo>
                      <a:pt x="92277" y="505900"/>
                    </a:lnTo>
                    <a:lnTo>
                      <a:pt x="0" y="505900"/>
                    </a:lnTo>
                    <a:close/>
                  </a:path>
                </a:pathLst>
              </a:custGeom>
              <a:solidFill>
                <a:srgbClr val="FABE28"/>
              </a:solidFill>
              <a:ln w="63500" cap="flat">
                <a:noFill/>
                <a:prstDash val="solid"/>
                <a:miter/>
              </a:ln>
            </p:spPr>
            <p:txBody>
              <a:bodyPr wrap="square" rtlCol="0" anchor="ctr">
                <a:noAutofit/>
              </a:bodyPr>
              <a:lstStyle/>
              <a:p>
                <a:pPr algn="ctr"/>
                <a:endParaRPr lang="uk-UA" sz="2800" dirty="0">
                  <a:latin typeface="+mj-lt"/>
                </a:endParaRPr>
              </a:p>
            </p:txBody>
          </p:sp>
          <p:sp>
            <p:nvSpPr>
              <p:cNvPr id="131" name="Google Shape;105;p16">
                <a:extLst>
                  <a:ext uri="{FF2B5EF4-FFF2-40B4-BE49-F238E27FC236}">
                    <a16:creationId xmlns:a16="http://schemas.microsoft.com/office/drawing/2014/main" id="{72087C9C-4F46-4732-8C28-61A04F74F859}"/>
                  </a:ext>
                </a:extLst>
              </p:cNvPr>
              <p:cNvSpPr txBox="1"/>
              <p:nvPr/>
            </p:nvSpPr>
            <p:spPr>
              <a:xfrm>
                <a:off x="609601" y="1561798"/>
                <a:ext cx="888999" cy="38971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endParaRPr sz="1200" dirty="0">
                  <a:solidFill>
                    <a:schemeClr val="tx2"/>
                  </a:solidFill>
                  <a:latin typeface="+mj-lt"/>
                </a:endParaRPr>
              </a:p>
            </p:txBody>
          </p:sp>
        </p:grpSp>
        <p:sp>
          <p:nvSpPr>
            <p:cNvPr id="194" name="Title 2">
              <a:extLst>
                <a:ext uri="{FF2B5EF4-FFF2-40B4-BE49-F238E27FC236}">
                  <a16:creationId xmlns:a16="http://schemas.microsoft.com/office/drawing/2014/main" id="{8A3B6838-244F-4CAB-BB8C-23C889DD9812}"/>
                </a:ext>
              </a:extLst>
            </p:cNvPr>
            <p:cNvSpPr txBox="1">
              <a:spLocks/>
            </p:cNvSpPr>
            <p:nvPr/>
          </p:nvSpPr>
          <p:spPr>
            <a:xfrm>
              <a:off x="2861369" y="3931587"/>
              <a:ext cx="8877806"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grpSp>
      <p:sp>
        <p:nvSpPr>
          <p:cNvPr id="60" name="Slide Number Placeholder 8">
            <a:extLst>
              <a:ext uri="{FF2B5EF4-FFF2-40B4-BE49-F238E27FC236}">
                <a16:creationId xmlns:a16="http://schemas.microsoft.com/office/drawing/2014/main" id="{43F4AA7C-B41F-49C4-831D-EBCC6E3091E7}"/>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5</a:t>
            </a:fld>
            <a:endParaRPr lang="uk-UA" sz="900" dirty="0">
              <a:latin typeface="+mn-lt"/>
            </a:endParaRPr>
          </a:p>
        </p:txBody>
      </p:sp>
      <p:sp>
        <p:nvSpPr>
          <p:cNvPr id="2" name="Прямокутник 1"/>
          <p:cNvSpPr/>
          <p:nvPr/>
        </p:nvSpPr>
        <p:spPr>
          <a:xfrm>
            <a:off x="660777" y="1239889"/>
            <a:ext cx="11187330" cy="646331"/>
          </a:xfrm>
          <a:prstGeom prst="rect">
            <a:avLst/>
          </a:prstGeom>
        </p:spPr>
        <p:txBody>
          <a:bodyPr wrap="square">
            <a:spAutoFit/>
          </a:bodyPr>
          <a:lstStyle/>
          <a:p>
            <a:pPr algn="ctr"/>
            <a:r>
              <a:rPr lang="uk-UA" dirty="0">
                <a:solidFill>
                  <a:srgbClr val="0091D7"/>
                </a:solidFill>
              </a:rPr>
              <a:t>На виконання Закону про бухгалтерський облік </a:t>
            </a:r>
            <a:endParaRPr lang="uk-UA" dirty="0" smtClean="0">
              <a:solidFill>
                <a:srgbClr val="0091D7"/>
              </a:solidFill>
            </a:endParaRPr>
          </a:p>
          <a:p>
            <a:pPr algn="ctr"/>
            <a:r>
              <a:rPr lang="uk-UA" dirty="0" smtClean="0">
                <a:solidFill>
                  <a:srgbClr val="0091D7"/>
                </a:solidFill>
              </a:rPr>
              <a:t>протягом </a:t>
            </a:r>
            <a:r>
              <a:rPr lang="uk-UA" dirty="0">
                <a:solidFill>
                  <a:srgbClr val="0091D7"/>
                </a:solidFill>
              </a:rPr>
              <a:t>2018-2024 років</a:t>
            </a:r>
          </a:p>
        </p:txBody>
      </p:sp>
      <p:grpSp>
        <p:nvGrpSpPr>
          <p:cNvPr id="20" name="Group 8">
            <a:extLst>
              <a:ext uri="{FF2B5EF4-FFF2-40B4-BE49-F238E27FC236}">
                <a16:creationId xmlns:a16="http://schemas.microsoft.com/office/drawing/2014/main" id="{EB2389AA-B6C3-4027-BC78-C2A8F62F4A23}"/>
              </a:ext>
            </a:extLst>
          </p:cNvPr>
          <p:cNvGrpSpPr/>
          <p:nvPr/>
        </p:nvGrpSpPr>
        <p:grpSpPr>
          <a:xfrm>
            <a:off x="90855" y="2309414"/>
            <a:ext cx="11635737" cy="595642"/>
            <a:chOff x="0" y="3931587"/>
            <a:chExt cx="11739175" cy="595642"/>
          </a:xfrm>
        </p:grpSpPr>
        <p:grpSp>
          <p:nvGrpSpPr>
            <p:cNvPr id="21" name="Group 128">
              <a:extLst>
                <a:ext uri="{FF2B5EF4-FFF2-40B4-BE49-F238E27FC236}">
                  <a16:creationId xmlns:a16="http://schemas.microsoft.com/office/drawing/2014/main" id="{34F3260E-81EA-4DD5-8FE8-B2F0E75C0276}"/>
                </a:ext>
              </a:extLst>
            </p:cNvPr>
            <p:cNvGrpSpPr/>
            <p:nvPr/>
          </p:nvGrpSpPr>
          <p:grpSpPr>
            <a:xfrm>
              <a:off x="0" y="4021329"/>
              <a:ext cx="2122178" cy="505900"/>
              <a:chOff x="0" y="1535544"/>
              <a:chExt cx="2122178" cy="505900"/>
            </a:xfrm>
          </p:grpSpPr>
          <p:sp>
            <p:nvSpPr>
              <p:cNvPr id="23" name="Freeform: Shape 129">
                <a:extLst>
                  <a:ext uri="{FF2B5EF4-FFF2-40B4-BE49-F238E27FC236}">
                    <a16:creationId xmlns:a16="http://schemas.microsoft.com/office/drawing/2014/main" id="{846BB7FB-8122-4B9C-B0AB-FE349CF31C55}"/>
                  </a:ext>
                </a:extLst>
              </p:cNvPr>
              <p:cNvSpPr/>
              <p:nvPr/>
            </p:nvSpPr>
            <p:spPr>
              <a:xfrm>
                <a:off x="0" y="1535544"/>
                <a:ext cx="2122178" cy="505900"/>
              </a:xfrm>
              <a:custGeom>
                <a:avLst/>
                <a:gdLst>
                  <a:gd name="connsiteX0" fmla="*/ 0 w 2122178"/>
                  <a:gd name="connsiteY0" fmla="*/ 0 h 505900"/>
                  <a:gd name="connsiteX1" fmla="*/ 63281 w 2122178"/>
                  <a:gd name="connsiteY1" fmla="*/ 0 h 505900"/>
                  <a:gd name="connsiteX2" fmla="*/ 305196 w 2122178"/>
                  <a:gd name="connsiteY2" fmla="*/ 0 h 505900"/>
                  <a:gd name="connsiteX3" fmla="*/ 598178 w 2122178"/>
                  <a:gd name="connsiteY3" fmla="*/ 0 h 505900"/>
                  <a:gd name="connsiteX4" fmla="*/ 840093 w 2122178"/>
                  <a:gd name="connsiteY4" fmla="*/ 0 h 505900"/>
                  <a:gd name="connsiteX5" fmla="*/ 1587281 w 2122178"/>
                  <a:gd name="connsiteY5" fmla="*/ 0 h 505900"/>
                  <a:gd name="connsiteX6" fmla="*/ 2122178 w 2122178"/>
                  <a:gd name="connsiteY6" fmla="*/ 0 h 505900"/>
                  <a:gd name="connsiteX7" fmla="*/ 1616277 w 2122178"/>
                  <a:gd name="connsiteY7" fmla="*/ 505900 h 505900"/>
                  <a:gd name="connsiteX8" fmla="*/ 1081379 w 2122178"/>
                  <a:gd name="connsiteY8" fmla="*/ 505900 h 505900"/>
                  <a:gd name="connsiteX9" fmla="*/ 334193 w 2122178"/>
                  <a:gd name="connsiteY9" fmla="*/ 505900 h 505900"/>
                  <a:gd name="connsiteX10" fmla="*/ 92277 w 2122178"/>
                  <a:gd name="connsiteY10" fmla="*/ 505900 h 505900"/>
                  <a:gd name="connsiteX11" fmla="*/ 0 w 2122178"/>
                  <a:gd name="connsiteY11" fmla="*/ 505900 h 50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22178" h="505900">
                    <a:moveTo>
                      <a:pt x="0" y="0"/>
                    </a:moveTo>
                    <a:lnTo>
                      <a:pt x="63281" y="0"/>
                    </a:lnTo>
                    <a:lnTo>
                      <a:pt x="305196" y="0"/>
                    </a:lnTo>
                    <a:lnTo>
                      <a:pt x="598178" y="0"/>
                    </a:lnTo>
                    <a:lnTo>
                      <a:pt x="840093" y="0"/>
                    </a:lnTo>
                    <a:lnTo>
                      <a:pt x="1587281" y="0"/>
                    </a:lnTo>
                    <a:lnTo>
                      <a:pt x="2122178" y="0"/>
                    </a:lnTo>
                    <a:lnTo>
                      <a:pt x="1616277" y="505900"/>
                    </a:lnTo>
                    <a:lnTo>
                      <a:pt x="1081379" y="505900"/>
                    </a:lnTo>
                    <a:lnTo>
                      <a:pt x="334193" y="505900"/>
                    </a:lnTo>
                    <a:lnTo>
                      <a:pt x="92277" y="505900"/>
                    </a:lnTo>
                    <a:lnTo>
                      <a:pt x="0" y="505900"/>
                    </a:lnTo>
                    <a:close/>
                  </a:path>
                </a:pathLst>
              </a:custGeom>
              <a:solidFill>
                <a:srgbClr val="FABE28"/>
              </a:solidFill>
              <a:ln w="63500" cap="flat">
                <a:noFill/>
                <a:prstDash val="solid"/>
                <a:miter/>
              </a:ln>
            </p:spPr>
            <p:txBody>
              <a:bodyPr wrap="square" rtlCol="0" anchor="ctr">
                <a:noAutofit/>
              </a:bodyPr>
              <a:lstStyle/>
              <a:p>
                <a:pPr algn="ctr"/>
                <a:endParaRPr lang="uk-UA" sz="2800" dirty="0">
                  <a:latin typeface="+mj-lt"/>
                </a:endParaRPr>
              </a:p>
            </p:txBody>
          </p:sp>
          <p:sp>
            <p:nvSpPr>
              <p:cNvPr id="24" name="Google Shape;105;p16">
                <a:extLst>
                  <a:ext uri="{FF2B5EF4-FFF2-40B4-BE49-F238E27FC236}">
                    <a16:creationId xmlns:a16="http://schemas.microsoft.com/office/drawing/2014/main" id="{72087C9C-4F46-4732-8C28-61A04F74F859}"/>
                  </a:ext>
                </a:extLst>
              </p:cNvPr>
              <p:cNvSpPr txBox="1"/>
              <p:nvPr/>
            </p:nvSpPr>
            <p:spPr>
              <a:xfrm>
                <a:off x="609601" y="1561798"/>
                <a:ext cx="888999" cy="38971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endParaRPr sz="1200" dirty="0">
                  <a:solidFill>
                    <a:schemeClr val="tx2"/>
                  </a:solidFill>
                  <a:latin typeface="+mj-lt"/>
                </a:endParaRPr>
              </a:p>
            </p:txBody>
          </p:sp>
        </p:grpSp>
        <p:sp>
          <p:nvSpPr>
            <p:cNvPr id="22" name="Title 2">
              <a:extLst>
                <a:ext uri="{FF2B5EF4-FFF2-40B4-BE49-F238E27FC236}">
                  <a16:creationId xmlns:a16="http://schemas.microsoft.com/office/drawing/2014/main" id="{8A3B6838-244F-4CAB-BB8C-23C889DD9812}"/>
                </a:ext>
              </a:extLst>
            </p:cNvPr>
            <p:cNvSpPr txBox="1">
              <a:spLocks/>
            </p:cNvSpPr>
            <p:nvPr/>
          </p:nvSpPr>
          <p:spPr>
            <a:xfrm>
              <a:off x="2861369" y="3931587"/>
              <a:ext cx="8877806"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grpSp>
      <p:grpSp>
        <p:nvGrpSpPr>
          <p:cNvPr id="25" name="Group 8">
            <a:extLst>
              <a:ext uri="{FF2B5EF4-FFF2-40B4-BE49-F238E27FC236}">
                <a16:creationId xmlns:a16="http://schemas.microsoft.com/office/drawing/2014/main" id="{EB2389AA-B6C3-4027-BC78-C2A8F62F4A23}"/>
              </a:ext>
            </a:extLst>
          </p:cNvPr>
          <p:cNvGrpSpPr/>
          <p:nvPr/>
        </p:nvGrpSpPr>
        <p:grpSpPr>
          <a:xfrm>
            <a:off x="90855" y="3301806"/>
            <a:ext cx="11635737" cy="595642"/>
            <a:chOff x="0" y="3931587"/>
            <a:chExt cx="11739175" cy="595642"/>
          </a:xfrm>
        </p:grpSpPr>
        <p:grpSp>
          <p:nvGrpSpPr>
            <p:cNvPr id="26" name="Group 128">
              <a:extLst>
                <a:ext uri="{FF2B5EF4-FFF2-40B4-BE49-F238E27FC236}">
                  <a16:creationId xmlns:a16="http://schemas.microsoft.com/office/drawing/2014/main" id="{34F3260E-81EA-4DD5-8FE8-B2F0E75C0276}"/>
                </a:ext>
              </a:extLst>
            </p:cNvPr>
            <p:cNvGrpSpPr/>
            <p:nvPr/>
          </p:nvGrpSpPr>
          <p:grpSpPr>
            <a:xfrm>
              <a:off x="0" y="4021329"/>
              <a:ext cx="2122178" cy="505900"/>
              <a:chOff x="0" y="1535544"/>
              <a:chExt cx="2122178" cy="505900"/>
            </a:xfrm>
          </p:grpSpPr>
          <p:sp>
            <p:nvSpPr>
              <p:cNvPr id="28" name="Freeform: Shape 129">
                <a:extLst>
                  <a:ext uri="{FF2B5EF4-FFF2-40B4-BE49-F238E27FC236}">
                    <a16:creationId xmlns:a16="http://schemas.microsoft.com/office/drawing/2014/main" id="{846BB7FB-8122-4B9C-B0AB-FE349CF31C55}"/>
                  </a:ext>
                </a:extLst>
              </p:cNvPr>
              <p:cNvSpPr/>
              <p:nvPr/>
            </p:nvSpPr>
            <p:spPr>
              <a:xfrm>
                <a:off x="0" y="1535544"/>
                <a:ext cx="2122178" cy="505900"/>
              </a:xfrm>
              <a:custGeom>
                <a:avLst/>
                <a:gdLst>
                  <a:gd name="connsiteX0" fmla="*/ 0 w 2122178"/>
                  <a:gd name="connsiteY0" fmla="*/ 0 h 505900"/>
                  <a:gd name="connsiteX1" fmla="*/ 63281 w 2122178"/>
                  <a:gd name="connsiteY1" fmla="*/ 0 h 505900"/>
                  <a:gd name="connsiteX2" fmla="*/ 305196 w 2122178"/>
                  <a:gd name="connsiteY2" fmla="*/ 0 h 505900"/>
                  <a:gd name="connsiteX3" fmla="*/ 598178 w 2122178"/>
                  <a:gd name="connsiteY3" fmla="*/ 0 h 505900"/>
                  <a:gd name="connsiteX4" fmla="*/ 840093 w 2122178"/>
                  <a:gd name="connsiteY4" fmla="*/ 0 h 505900"/>
                  <a:gd name="connsiteX5" fmla="*/ 1587281 w 2122178"/>
                  <a:gd name="connsiteY5" fmla="*/ 0 h 505900"/>
                  <a:gd name="connsiteX6" fmla="*/ 2122178 w 2122178"/>
                  <a:gd name="connsiteY6" fmla="*/ 0 h 505900"/>
                  <a:gd name="connsiteX7" fmla="*/ 1616277 w 2122178"/>
                  <a:gd name="connsiteY7" fmla="*/ 505900 h 505900"/>
                  <a:gd name="connsiteX8" fmla="*/ 1081379 w 2122178"/>
                  <a:gd name="connsiteY8" fmla="*/ 505900 h 505900"/>
                  <a:gd name="connsiteX9" fmla="*/ 334193 w 2122178"/>
                  <a:gd name="connsiteY9" fmla="*/ 505900 h 505900"/>
                  <a:gd name="connsiteX10" fmla="*/ 92277 w 2122178"/>
                  <a:gd name="connsiteY10" fmla="*/ 505900 h 505900"/>
                  <a:gd name="connsiteX11" fmla="*/ 0 w 2122178"/>
                  <a:gd name="connsiteY11" fmla="*/ 505900 h 50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22178" h="505900">
                    <a:moveTo>
                      <a:pt x="0" y="0"/>
                    </a:moveTo>
                    <a:lnTo>
                      <a:pt x="63281" y="0"/>
                    </a:lnTo>
                    <a:lnTo>
                      <a:pt x="305196" y="0"/>
                    </a:lnTo>
                    <a:lnTo>
                      <a:pt x="598178" y="0"/>
                    </a:lnTo>
                    <a:lnTo>
                      <a:pt x="840093" y="0"/>
                    </a:lnTo>
                    <a:lnTo>
                      <a:pt x="1587281" y="0"/>
                    </a:lnTo>
                    <a:lnTo>
                      <a:pt x="2122178" y="0"/>
                    </a:lnTo>
                    <a:lnTo>
                      <a:pt x="1616277" y="505900"/>
                    </a:lnTo>
                    <a:lnTo>
                      <a:pt x="1081379" y="505900"/>
                    </a:lnTo>
                    <a:lnTo>
                      <a:pt x="334193" y="505900"/>
                    </a:lnTo>
                    <a:lnTo>
                      <a:pt x="92277" y="505900"/>
                    </a:lnTo>
                    <a:lnTo>
                      <a:pt x="0" y="505900"/>
                    </a:lnTo>
                    <a:close/>
                  </a:path>
                </a:pathLst>
              </a:custGeom>
              <a:solidFill>
                <a:srgbClr val="FABE28"/>
              </a:solidFill>
              <a:ln w="63500" cap="flat">
                <a:noFill/>
                <a:prstDash val="solid"/>
                <a:miter/>
              </a:ln>
            </p:spPr>
            <p:txBody>
              <a:bodyPr wrap="square" rtlCol="0" anchor="ctr">
                <a:noAutofit/>
              </a:bodyPr>
              <a:lstStyle/>
              <a:p>
                <a:pPr algn="ctr"/>
                <a:endParaRPr lang="uk-UA" sz="2800" dirty="0">
                  <a:latin typeface="+mj-lt"/>
                </a:endParaRPr>
              </a:p>
            </p:txBody>
          </p:sp>
          <p:sp>
            <p:nvSpPr>
              <p:cNvPr id="29" name="Google Shape;105;p16">
                <a:extLst>
                  <a:ext uri="{FF2B5EF4-FFF2-40B4-BE49-F238E27FC236}">
                    <a16:creationId xmlns:a16="http://schemas.microsoft.com/office/drawing/2014/main" id="{72087C9C-4F46-4732-8C28-61A04F74F859}"/>
                  </a:ext>
                </a:extLst>
              </p:cNvPr>
              <p:cNvSpPr txBox="1"/>
              <p:nvPr/>
            </p:nvSpPr>
            <p:spPr>
              <a:xfrm>
                <a:off x="609601" y="1561798"/>
                <a:ext cx="888999" cy="38971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endParaRPr sz="1200" dirty="0">
                  <a:solidFill>
                    <a:schemeClr val="tx2"/>
                  </a:solidFill>
                  <a:latin typeface="+mj-lt"/>
                </a:endParaRPr>
              </a:p>
            </p:txBody>
          </p:sp>
        </p:grpSp>
        <p:sp>
          <p:nvSpPr>
            <p:cNvPr id="27" name="Title 2">
              <a:extLst>
                <a:ext uri="{FF2B5EF4-FFF2-40B4-BE49-F238E27FC236}">
                  <a16:creationId xmlns:a16="http://schemas.microsoft.com/office/drawing/2014/main" id="{8A3B6838-244F-4CAB-BB8C-23C889DD9812}"/>
                </a:ext>
              </a:extLst>
            </p:cNvPr>
            <p:cNvSpPr txBox="1">
              <a:spLocks/>
            </p:cNvSpPr>
            <p:nvPr/>
          </p:nvSpPr>
          <p:spPr>
            <a:xfrm>
              <a:off x="2861369" y="3931587"/>
              <a:ext cx="8877806"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grpSp>
      <p:grpSp>
        <p:nvGrpSpPr>
          <p:cNvPr id="30" name="Group 8">
            <a:extLst>
              <a:ext uri="{FF2B5EF4-FFF2-40B4-BE49-F238E27FC236}">
                <a16:creationId xmlns:a16="http://schemas.microsoft.com/office/drawing/2014/main" id="{EB2389AA-B6C3-4027-BC78-C2A8F62F4A23}"/>
              </a:ext>
            </a:extLst>
          </p:cNvPr>
          <p:cNvGrpSpPr/>
          <p:nvPr/>
        </p:nvGrpSpPr>
        <p:grpSpPr>
          <a:xfrm>
            <a:off x="0" y="5220554"/>
            <a:ext cx="11635737" cy="595642"/>
            <a:chOff x="0" y="3931587"/>
            <a:chExt cx="11739175" cy="595642"/>
          </a:xfrm>
        </p:grpSpPr>
        <p:grpSp>
          <p:nvGrpSpPr>
            <p:cNvPr id="32" name="Group 128">
              <a:extLst>
                <a:ext uri="{FF2B5EF4-FFF2-40B4-BE49-F238E27FC236}">
                  <a16:creationId xmlns:a16="http://schemas.microsoft.com/office/drawing/2014/main" id="{34F3260E-81EA-4DD5-8FE8-B2F0E75C0276}"/>
                </a:ext>
              </a:extLst>
            </p:cNvPr>
            <p:cNvGrpSpPr/>
            <p:nvPr/>
          </p:nvGrpSpPr>
          <p:grpSpPr>
            <a:xfrm>
              <a:off x="0" y="4021329"/>
              <a:ext cx="2122178" cy="505900"/>
              <a:chOff x="0" y="1535544"/>
              <a:chExt cx="2122178" cy="505900"/>
            </a:xfrm>
          </p:grpSpPr>
          <p:sp>
            <p:nvSpPr>
              <p:cNvPr id="34" name="Freeform: Shape 129">
                <a:extLst>
                  <a:ext uri="{FF2B5EF4-FFF2-40B4-BE49-F238E27FC236}">
                    <a16:creationId xmlns:a16="http://schemas.microsoft.com/office/drawing/2014/main" id="{846BB7FB-8122-4B9C-B0AB-FE349CF31C55}"/>
                  </a:ext>
                </a:extLst>
              </p:cNvPr>
              <p:cNvSpPr/>
              <p:nvPr/>
            </p:nvSpPr>
            <p:spPr>
              <a:xfrm>
                <a:off x="0" y="1535544"/>
                <a:ext cx="2122178" cy="505900"/>
              </a:xfrm>
              <a:custGeom>
                <a:avLst/>
                <a:gdLst>
                  <a:gd name="connsiteX0" fmla="*/ 0 w 2122178"/>
                  <a:gd name="connsiteY0" fmla="*/ 0 h 505900"/>
                  <a:gd name="connsiteX1" fmla="*/ 63281 w 2122178"/>
                  <a:gd name="connsiteY1" fmla="*/ 0 h 505900"/>
                  <a:gd name="connsiteX2" fmla="*/ 305196 w 2122178"/>
                  <a:gd name="connsiteY2" fmla="*/ 0 h 505900"/>
                  <a:gd name="connsiteX3" fmla="*/ 598178 w 2122178"/>
                  <a:gd name="connsiteY3" fmla="*/ 0 h 505900"/>
                  <a:gd name="connsiteX4" fmla="*/ 840093 w 2122178"/>
                  <a:gd name="connsiteY4" fmla="*/ 0 h 505900"/>
                  <a:gd name="connsiteX5" fmla="*/ 1587281 w 2122178"/>
                  <a:gd name="connsiteY5" fmla="*/ 0 h 505900"/>
                  <a:gd name="connsiteX6" fmla="*/ 2122178 w 2122178"/>
                  <a:gd name="connsiteY6" fmla="*/ 0 h 505900"/>
                  <a:gd name="connsiteX7" fmla="*/ 1616277 w 2122178"/>
                  <a:gd name="connsiteY7" fmla="*/ 505900 h 505900"/>
                  <a:gd name="connsiteX8" fmla="*/ 1081379 w 2122178"/>
                  <a:gd name="connsiteY8" fmla="*/ 505900 h 505900"/>
                  <a:gd name="connsiteX9" fmla="*/ 334193 w 2122178"/>
                  <a:gd name="connsiteY9" fmla="*/ 505900 h 505900"/>
                  <a:gd name="connsiteX10" fmla="*/ 92277 w 2122178"/>
                  <a:gd name="connsiteY10" fmla="*/ 505900 h 505900"/>
                  <a:gd name="connsiteX11" fmla="*/ 0 w 2122178"/>
                  <a:gd name="connsiteY11" fmla="*/ 505900 h 50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22178" h="505900">
                    <a:moveTo>
                      <a:pt x="0" y="0"/>
                    </a:moveTo>
                    <a:lnTo>
                      <a:pt x="63281" y="0"/>
                    </a:lnTo>
                    <a:lnTo>
                      <a:pt x="305196" y="0"/>
                    </a:lnTo>
                    <a:lnTo>
                      <a:pt x="598178" y="0"/>
                    </a:lnTo>
                    <a:lnTo>
                      <a:pt x="840093" y="0"/>
                    </a:lnTo>
                    <a:lnTo>
                      <a:pt x="1587281" y="0"/>
                    </a:lnTo>
                    <a:lnTo>
                      <a:pt x="2122178" y="0"/>
                    </a:lnTo>
                    <a:lnTo>
                      <a:pt x="1616277" y="505900"/>
                    </a:lnTo>
                    <a:lnTo>
                      <a:pt x="1081379" y="505900"/>
                    </a:lnTo>
                    <a:lnTo>
                      <a:pt x="334193" y="505900"/>
                    </a:lnTo>
                    <a:lnTo>
                      <a:pt x="92277" y="505900"/>
                    </a:lnTo>
                    <a:lnTo>
                      <a:pt x="0" y="505900"/>
                    </a:lnTo>
                    <a:close/>
                  </a:path>
                </a:pathLst>
              </a:custGeom>
              <a:solidFill>
                <a:srgbClr val="FABE28"/>
              </a:solidFill>
              <a:ln w="63500" cap="flat">
                <a:noFill/>
                <a:prstDash val="solid"/>
                <a:miter/>
              </a:ln>
            </p:spPr>
            <p:txBody>
              <a:bodyPr wrap="square" rtlCol="0" anchor="ctr">
                <a:noAutofit/>
              </a:bodyPr>
              <a:lstStyle/>
              <a:p>
                <a:pPr algn="ctr"/>
                <a:endParaRPr lang="uk-UA" sz="2800" dirty="0">
                  <a:latin typeface="+mj-lt"/>
                </a:endParaRPr>
              </a:p>
            </p:txBody>
          </p:sp>
          <p:sp>
            <p:nvSpPr>
              <p:cNvPr id="35" name="Google Shape;105;p16">
                <a:extLst>
                  <a:ext uri="{FF2B5EF4-FFF2-40B4-BE49-F238E27FC236}">
                    <a16:creationId xmlns:a16="http://schemas.microsoft.com/office/drawing/2014/main" id="{72087C9C-4F46-4732-8C28-61A04F74F859}"/>
                  </a:ext>
                </a:extLst>
              </p:cNvPr>
              <p:cNvSpPr txBox="1"/>
              <p:nvPr/>
            </p:nvSpPr>
            <p:spPr>
              <a:xfrm>
                <a:off x="609601" y="1561798"/>
                <a:ext cx="888999" cy="38971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endParaRPr sz="1200" dirty="0">
                  <a:solidFill>
                    <a:schemeClr val="tx2"/>
                  </a:solidFill>
                  <a:latin typeface="+mj-lt"/>
                </a:endParaRPr>
              </a:p>
            </p:txBody>
          </p:sp>
        </p:grpSp>
        <p:sp>
          <p:nvSpPr>
            <p:cNvPr id="33" name="Title 2">
              <a:extLst>
                <a:ext uri="{FF2B5EF4-FFF2-40B4-BE49-F238E27FC236}">
                  <a16:creationId xmlns:a16="http://schemas.microsoft.com/office/drawing/2014/main" id="{8A3B6838-244F-4CAB-BB8C-23C889DD9812}"/>
                </a:ext>
              </a:extLst>
            </p:cNvPr>
            <p:cNvSpPr txBox="1">
              <a:spLocks/>
            </p:cNvSpPr>
            <p:nvPr/>
          </p:nvSpPr>
          <p:spPr>
            <a:xfrm>
              <a:off x="2861369" y="3931587"/>
              <a:ext cx="8877806" cy="569198"/>
            </a:xfrm>
            <a:prstGeom prst="rect">
              <a:avLst/>
            </a:prstGeom>
            <a:ln w="38100">
              <a:noFill/>
            </a:ln>
          </p:spPr>
          <p:txBody>
            <a:bodyPr vert="horz" lIns="0" tIns="0" rIns="0" bIns="0" rtlCol="0" anchor="ctr">
              <a:noAutofit/>
            </a:bodyPr>
            <a:lstStyle>
              <a:lvl1pPr indent="-274320" algn="l" defTabSz="685800" rtl="0" eaLnBrk="1" latinLnBrk="0" hangingPunct="1">
                <a:lnSpc>
                  <a:spcPct val="100000"/>
                </a:lnSpc>
                <a:spcBef>
                  <a:spcPct val="0"/>
                </a:spcBef>
                <a:spcAft>
                  <a:spcPts val="900"/>
                </a:spcAft>
                <a:buNone/>
                <a:defRPr sz="4000" b="0" i="0" kern="1200">
                  <a:solidFill>
                    <a:schemeClr val="tx1"/>
                  </a:solidFill>
                  <a:latin typeface="e-Ukraine UltraLight" panose="00000700000000000000" pitchFamily="2" charset="0"/>
                  <a:ea typeface="+mj-ea"/>
                  <a:cs typeface="+mj-cs"/>
                </a:defRPr>
              </a:lvl1pPr>
            </a:lstStyle>
            <a:p>
              <a:pPr>
                <a:spcAft>
                  <a:spcPts val="0"/>
                </a:spcAft>
              </a:pPr>
              <a:endParaRPr lang="uk-UA" sz="1600" dirty="0">
                <a:latin typeface="+mn-lt"/>
              </a:endParaRPr>
            </a:p>
          </p:txBody>
        </p:sp>
      </p:grpSp>
      <p:sp>
        <p:nvSpPr>
          <p:cNvPr id="4" name="Прямокутник 3"/>
          <p:cNvSpPr/>
          <p:nvPr/>
        </p:nvSpPr>
        <p:spPr>
          <a:xfrm>
            <a:off x="2352054" y="2255168"/>
            <a:ext cx="9596692" cy="830997"/>
          </a:xfrm>
          <a:prstGeom prst="rect">
            <a:avLst/>
          </a:prstGeom>
        </p:spPr>
        <p:txBody>
          <a:bodyPr wrap="square">
            <a:spAutoFit/>
          </a:bodyPr>
          <a:lstStyle/>
          <a:p>
            <a:r>
              <a:rPr lang="ru-RU" sz="1600" dirty="0" smtClean="0"/>
              <a:t>удосконалено </a:t>
            </a:r>
            <a:r>
              <a:rPr lang="ru-RU" sz="1600" dirty="0"/>
              <a:t>Порядок подання фінансової звітності, а також форми та порядок складання спрощеної фінансової звітності для малих підприємств та мікропідприємств</a:t>
            </a:r>
            <a:endParaRPr lang="uk-UA" sz="1600" dirty="0"/>
          </a:p>
        </p:txBody>
      </p:sp>
      <p:sp>
        <p:nvSpPr>
          <p:cNvPr id="5" name="Прямокутник 4"/>
          <p:cNvSpPr/>
          <p:nvPr/>
        </p:nvSpPr>
        <p:spPr>
          <a:xfrm>
            <a:off x="2352054" y="3276197"/>
            <a:ext cx="9483812" cy="584775"/>
          </a:xfrm>
          <a:prstGeom prst="rect">
            <a:avLst/>
          </a:prstGeom>
        </p:spPr>
        <p:txBody>
          <a:bodyPr wrap="square">
            <a:spAutoFit/>
          </a:bodyPr>
          <a:lstStyle/>
          <a:p>
            <a:r>
              <a:rPr lang="ru-RU" sz="1600" dirty="0" smtClean="0"/>
              <a:t>внесено </a:t>
            </a:r>
            <a:r>
              <a:rPr lang="ru-RU" sz="1600" dirty="0"/>
              <a:t>зміни до НП(С)БО та інших </a:t>
            </a:r>
            <a:r>
              <a:rPr lang="ru-RU" sz="1600" dirty="0" smtClean="0"/>
              <a:t>нормативно-правових </a:t>
            </a:r>
            <a:r>
              <a:rPr lang="ru-RU" sz="1600" dirty="0"/>
              <a:t>актів у сфері бухгалтерського обліку та складання фінансової звітності</a:t>
            </a:r>
            <a:endParaRPr lang="uk-UA" sz="1600" dirty="0"/>
          </a:p>
        </p:txBody>
      </p:sp>
      <p:sp>
        <p:nvSpPr>
          <p:cNvPr id="6" name="Прямокутник 5"/>
          <p:cNvSpPr/>
          <p:nvPr/>
        </p:nvSpPr>
        <p:spPr>
          <a:xfrm>
            <a:off x="2352054" y="4291006"/>
            <a:ext cx="9283683" cy="338554"/>
          </a:xfrm>
          <a:prstGeom prst="rect">
            <a:avLst/>
          </a:prstGeom>
        </p:spPr>
        <p:txBody>
          <a:bodyPr wrap="square">
            <a:spAutoFit/>
          </a:bodyPr>
          <a:lstStyle/>
          <a:p>
            <a:r>
              <a:rPr lang="ru-RU" sz="1600" dirty="0" smtClean="0"/>
              <a:t>затверджено </a:t>
            </a:r>
            <a:r>
              <a:rPr lang="ru-RU" sz="1600" dirty="0"/>
              <a:t>Методичні рекомендації зі складання звіту про управління</a:t>
            </a:r>
            <a:endParaRPr lang="uk-UA" sz="1600" dirty="0"/>
          </a:p>
        </p:txBody>
      </p:sp>
      <p:sp>
        <p:nvSpPr>
          <p:cNvPr id="8" name="Прямокутник 7"/>
          <p:cNvSpPr/>
          <p:nvPr/>
        </p:nvSpPr>
        <p:spPr>
          <a:xfrm>
            <a:off x="2352054" y="5215541"/>
            <a:ext cx="9374538" cy="584775"/>
          </a:xfrm>
          <a:prstGeom prst="rect">
            <a:avLst/>
          </a:prstGeom>
        </p:spPr>
        <p:txBody>
          <a:bodyPr wrap="square">
            <a:spAutoFit/>
          </a:bodyPr>
          <a:lstStyle/>
          <a:p>
            <a:r>
              <a:rPr lang="uk-UA" sz="1600" dirty="0"/>
              <a:t>затверджено форму та Порядок складання звіту про платежі на користь держави підприємств, що здійснюють заготівлю деревини</a:t>
            </a:r>
          </a:p>
        </p:txBody>
      </p:sp>
    </p:spTree>
    <p:extLst>
      <p:ext uri="{BB962C8B-B14F-4D97-AF65-F5344CB8AC3E}">
        <p14:creationId xmlns:p14="http://schemas.microsoft.com/office/powerpoint/2010/main" val="41889604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416"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3D34545-74AF-4340-8844-095E97A662EB}"/>
              </a:ext>
            </a:extLst>
          </p:cNvPr>
          <p:cNvSpPr>
            <a:spLocks noGrp="1"/>
          </p:cNvSpPr>
          <p:nvPr>
            <p:ph type="body" sz="quarter" idx="11"/>
          </p:nvPr>
        </p:nvSpPr>
        <p:spPr>
          <a:xfrm>
            <a:off x="298938" y="1450731"/>
            <a:ext cx="11570677" cy="4870938"/>
          </a:xfrm>
        </p:spPr>
        <p:txBody>
          <a:bodyPr/>
          <a:lstStyle/>
          <a:p>
            <a:pPr lvl="0" algn="just"/>
            <a:r>
              <a:rPr lang="uk-UA" dirty="0" smtClean="0"/>
              <a:t>	</a:t>
            </a:r>
            <a:r>
              <a:rPr lang="uk-UA" sz="1800" dirty="0"/>
              <a:t>В частині реформування та розвитку системи бухгалтерського обліку в державному секторі в Україні здійснюється модернізація відповідно до Стратегії модернізації системи бухгалтерського обліку та фінансової звітності в державному секторі на період до 2025 року. </a:t>
            </a:r>
          </a:p>
          <a:p>
            <a:pPr lvl="0" algn="just"/>
            <a:r>
              <a:rPr lang="uk-UA" sz="1800" dirty="0" smtClean="0"/>
              <a:t>	</a:t>
            </a:r>
          </a:p>
          <a:p>
            <a:pPr lvl="0" algn="just"/>
            <a:r>
              <a:rPr lang="uk-UA" sz="1800" dirty="0" smtClean="0"/>
              <a:t>	Реалізація </a:t>
            </a:r>
            <a:r>
              <a:rPr lang="uk-UA" sz="1800" dirty="0"/>
              <a:t>зазначеної Стратегії спрямована на створення до 2025 року єдиного інформаційного простору в бухгалтерському обліку, який ґрунтується на застосуванні національних положень (стандартів) бухгалтерського обліку в державному секторі (НП(С)БОДС) і використанні плану рахунків бухгалтерського обліку в державному секторі всіма суб’єктами державного сектору та удосконаленні моделі бухгалтерської служби.</a:t>
            </a:r>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a:xfrm>
            <a:off x="609601" y="469415"/>
            <a:ext cx="9174479" cy="627865"/>
          </a:xfrm>
        </p:spPr>
        <p:txBody>
          <a:bodyPr/>
          <a:lstStyle/>
          <a:p>
            <a:r>
              <a:rPr lang="uk-UA" sz="2800" dirty="0"/>
              <a:t>Реформування бухгалтерського </a:t>
            </a:r>
            <a:r>
              <a:rPr lang="uk-UA" sz="2800" dirty="0" smtClean="0"/>
              <a:t>обліку в державному секторі</a:t>
            </a:r>
            <a:endParaRPr lang="en-US" sz="2800" dirty="0"/>
          </a:p>
        </p:txBody>
      </p:sp>
      <p:sp>
        <p:nvSpPr>
          <p:cNvPr id="9" name="Slide Number Placeholder 8">
            <a:extLst>
              <a:ext uri="{FF2B5EF4-FFF2-40B4-BE49-F238E27FC236}">
                <a16:creationId xmlns:a16="http://schemas.microsoft.com/office/drawing/2014/main" id="{C8BE0309-396B-4016-8AFD-7F8A65A02044}"/>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6</a:t>
            </a:fld>
            <a:endParaRPr lang="uk-UA" sz="900" dirty="0">
              <a:latin typeface="+mn-lt"/>
            </a:endParaRPr>
          </a:p>
        </p:txBody>
      </p:sp>
    </p:spTree>
    <p:extLst>
      <p:ext uri="{BB962C8B-B14F-4D97-AF65-F5344CB8AC3E}">
        <p14:creationId xmlns:p14="http://schemas.microsoft.com/office/powerpoint/2010/main" val="577651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Graphic 20">
            <a:extLst>
              <a:ext uri="{FF2B5EF4-FFF2-40B4-BE49-F238E27FC236}">
                <a16:creationId xmlns:a16="http://schemas.microsoft.com/office/drawing/2014/main" id="{A6722032-24A5-4FC5-ADAD-CC4BD07803E4}"/>
              </a:ext>
            </a:extLst>
          </p:cNvPr>
          <p:cNvSpPr/>
          <p:nvPr/>
        </p:nvSpPr>
        <p:spPr>
          <a:xfrm>
            <a:off x="375455" y="1537289"/>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807"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13" name="Text Placeholder 112">
            <a:extLst>
              <a:ext uri="{FF2B5EF4-FFF2-40B4-BE49-F238E27FC236}">
                <a16:creationId xmlns:a16="http://schemas.microsoft.com/office/drawing/2014/main" id="{6404955E-000D-4EF2-BE78-D962527F0CB8}"/>
              </a:ext>
            </a:extLst>
          </p:cNvPr>
          <p:cNvSpPr>
            <a:spLocks noGrp="1"/>
          </p:cNvSpPr>
          <p:nvPr>
            <p:ph type="body" sz="quarter" idx="11"/>
          </p:nvPr>
        </p:nvSpPr>
        <p:spPr>
          <a:xfrm>
            <a:off x="1828967" y="1339920"/>
            <a:ext cx="3322956" cy="1493202"/>
          </a:xfrm>
        </p:spPr>
        <p:txBody>
          <a:bodyPr/>
          <a:lstStyle/>
          <a:p>
            <a:r>
              <a:rPr lang="uk-UA" dirty="0"/>
              <a:t>підвищення рівня відкритості, достовірності та прозорості фінансової звітності з метою забезпечення ефективності прийняття управлінських рішень у сфері державних фінансів</a:t>
            </a:r>
          </a:p>
        </p:txBody>
      </p:sp>
      <p:sp>
        <p:nvSpPr>
          <p:cNvPr id="115" name="Text Placeholder 114">
            <a:extLst>
              <a:ext uri="{FF2B5EF4-FFF2-40B4-BE49-F238E27FC236}">
                <a16:creationId xmlns:a16="http://schemas.microsoft.com/office/drawing/2014/main" id="{73407256-34B0-4EB5-A39B-6549459D0CAD}"/>
              </a:ext>
            </a:extLst>
          </p:cNvPr>
          <p:cNvSpPr>
            <a:spLocks noGrp="1"/>
          </p:cNvSpPr>
          <p:nvPr>
            <p:ph type="body" sz="quarter" idx="13"/>
          </p:nvPr>
        </p:nvSpPr>
        <p:spPr>
          <a:xfrm>
            <a:off x="1828967" y="4396268"/>
            <a:ext cx="3322956" cy="1493202"/>
          </a:xfrm>
        </p:spPr>
        <p:txBody>
          <a:bodyPr/>
          <a:lstStyle/>
          <a:p>
            <a:r>
              <a:rPr lang="uk-UA" dirty="0"/>
              <a:t>забезпечення порівнянності показників фінансової звітності державного сектору України та державного сектору інших країн</a:t>
            </a:r>
          </a:p>
        </p:txBody>
      </p:sp>
      <p:sp>
        <p:nvSpPr>
          <p:cNvPr id="119" name="Text Placeholder 118">
            <a:extLst>
              <a:ext uri="{FF2B5EF4-FFF2-40B4-BE49-F238E27FC236}">
                <a16:creationId xmlns:a16="http://schemas.microsoft.com/office/drawing/2014/main" id="{C2661E0E-357D-42A0-B6D9-26EABE3D2457}"/>
              </a:ext>
            </a:extLst>
          </p:cNvPr>
          <p:cNvSpPr>
            <a:spLocks noGrp="1"/>
          </p:cNvSpPr>
          <p:nvPr>
            <p:ph type="body" sz="quarter" idx="15"/>
          </p:nvPr>
        </p:nvSpPr>
        <p:spPr>
          <a:xfrm>
            <a:off x="7588130" y="1352193"/>
            <a:ext cx="3322956" cy="1493202"/>
          </a:xfrm>
        </p:spPr>
        <p:txBody>
          <a:bodyPr/>
          <a:lstStyle/>
          <a:p>
            <a:r>
              <a:rPr lang="uk-UA" dirty="0"/>
              <a:t>забезпечення консолідації фінансової звітності на різних рівнях; запровадження якісно нової системи підготовки та перепідготовки кадрів бухгалтерських служб суб’єктів державного сектору</a:t>
            </a:r>
          </a:p>
        </p:txBody>
      </p:sp>
      <p:sp>
        <p:nvSpPr>
          <p:cNvPr id="117" name="Text Placeholder 116">
            <a:extLst>
              <a:ext uri="{FF2B5EF4-FFF2-40B4-BE49-F238E27FC236}">
                <a16:creationId xmlns:a16="http://schemas.microsoft.com/office/drawing/2014/main" id="{16018086-4666-4066-B3A2-3CA864AB15A5}"/>
              </a:ext>
            </a:extLst>
          </p:cNvPr>
          <p:cNvSpPr>
            <a:spLocks noGrp="1"/>
          </p:cNvSpPr>
          <p:nvPr>
            <p:ph type="body" sz="quarter" idx="17"/>
          </p:nvPr>
        </p:nvSpPr>
        <p:spPr>
          <a:xfrm>
            <a:off x="7588130" y="4398665"/>
            <a:ext cx="3322956" cy="1252577"/>
          </a:xfrm>
        </p:spPr>
        <p:txBody>
          <a:bodyPr/>
          <a:lstStyle/>
          <a:p>
            <a:r>
              <a:rPr lang="uk-UA" dirty="0"/>
              <a:t>підвищення статусу керівників бухгалтерських служб суб’єктів державного сектору та ефективності їх діяльності</a:t>
            </a:r>
          </a:p>
        </p:txBody>
      </p:sp>
      <p:sp>
        <p:nvSpPr>
          <p:cNvPr id="32" name="Slide Number Placeholder 8">
            <a:extLst>
              <a:ext uri="{FF2B5EF4-FFF2-40B4-BE49-F238E27FC236}">
                <a16:creationId xmlns:a16="http://schemas.microsoft.com/office/drawing/2014/main" id="{E8864F1D-6B7E-48C3-B838-9C60F3407721}"/>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7</a:t>
            </a:fld>
            <a:endParaRPr lang="uk-UA" sz="900" dirty="0">
              <a:latin typeface="+mn-lt"/>
            </a:endParaRPr>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ru-RU" dirty="0"/>
              <a:t>Стратегія передбачає досягнення таких результатів</a:t>
            </a:r>
            <a:endParaRPr lang="en-US" dirty="0"/>
          </a:p>
        </p:txBody>
      </p:sp>
      <p:sp>
        <p:nvSpPr>
          <p:cNvPr id="46" name="Graphic 20">
            <a:extLst>
              <a:ext uri="{FF2B5EF4-FFF2-40B4-BE49-F238E27FC236}">
                <a16:creationId xmlns:a16="http://schemas.microsoft.com/office/drawing/2014/main" id="{151FBCBB-58A2-4DE4-B34F-10B5F795818E}"/>
              </a:ext>
            </a:extLst>
          </p:cNvPr>
          <p:cNvSpPr/>
          <p:nvPr/>
        </p:nvSpPr>
        <p:spPr>
          <a:xfrm>
            <a:off x="375456" y="461630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52" name="Graphic 20">
            <a:extLst>
              <a:ext uri="{FF2B5EF4-FFF2-40B4-BE49-F238E27FC236}">
                <a16:creationId xmlns:a16="http://schemas.microsoft.com/office/drawing/2014/main" id="{ED0C0798-597F-4E55-A327-EF10F88D99BD}"/>
              </a:ext>
            </a:extLst>
          </p:cNvPr>
          <p:cNvSpPr/>
          <p:nvPr/>
        </p:nvSpPr>
        <p:spPr>
          <a:xfrm>
            <a:off x="6154837" y="1549562"/>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56" name="Graphic 20">
            <a:extLst>
              <a:ext uri="{FF2B5EF4-FFF2-40B4-BE49-F238E27FC236}">
                <a16:creationId xmlns:a16="http://schemas.microsoft.com/office/drawing/2014/main" id="{12427822-5DEF-473C-97E6-FC50BDCBC518}"/>
              </a:ext>
            </a:extLst>
          </p:cNvPr>
          <p:cNvSpPr/>
          <p:nvPr/>
        </p:nvSpPr>
        <p:spPr>
          <a:xfrm>
            <a:off x="6154838" y="4601089"/>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Tree>
    <p:extLst>
      <p:ext uri="{BB962C8B-B14F-4D97-AF65-F5344CB8AC3E}">
        <p14:creationId xmlns:p14="http://schemas.microsoft.com/office/powerpoint/2010/main" val="17937071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7303"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06" name="Slide Number Placeholder 8">
            <a:extLst>
              <a:ext uri="{FF2B5EF4-FFF2-40B4-BE49-F238E27FC236}">
                <a16:creationId xmlns:a16="http://schemas.microsoft.com/office/drawing/2014/main" id="{F826F3EF-F85B-4379-8C1D-D9F72D821C9E}"/>
              </a:ext>
            </a:extLst>
          </p:cNvPr>
          <p:cNvSpPr>
            <a:spLocks noGrp="1"/>
          </p:cNvSpPr>
          <p:nvPr>
            <p:ph type="sldNum" sz="quarter" idx="4"/>
          </p:nvPr>
        </p:nvSpPr>
        <p:spPr>
          <a:xfrm>
            <a:off x="11533188" y="6411692"/>
            <a:ext cx="473946" cy="381598"/>
          </a:xfrm>
        </p:spPr>
        <p:txBody>
          <a:bodyPr/>
          <a:lstStyle>
            <a:lvl1pPr algn="r">
              <a:defRPr sz="1000">
                <a:latin typeface="e-Ukraine UltraLight" panose="00000500000000000000" pitchFamily="2" charset="0"/>
              </a:defRPr>
            </a:lvl1pPr>
          </a:lstStyle>
          <a:p>
            <a:fld id="{6BEF9EAC-A834-4079-97F3-DDD7E59C4475}" type="slidenum">
              <a:rPr lang="uk-UA" smtClean="0"/>
              <a:pPr/>
              <a:t>8</a:t>
            </a:fld>
            <a:endParaRPr lang="uk-UA" dirty="0"/>
          </a:p>
        </p:txBody>
      </p:sp>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a:xfrm>
            <a:off x="609601" y="469415"/>
            <a:ext cx="9330054" cy="436193"/>
          </a:xfrm>
        </p:spPr>
        <p:txBody>
          <a:bodyPr/>
          <a:lstStyle/>
          <a:p>
            <a:r>
              <a:rPr lang="ru-RU" sz="2400" dirty="0"/>
              <a:t>Оцінка системи бухгалтерського обліку в державному секторі України за методологією Світового Банку (PULSE)</a:t>
            </a:r>
            <a:endParaRPr lang="en-US" sz="2400" dirty="0"/>
          </a:p>
        </p:txBody>
      </p:sp>
      <p:sp>
        <p:nvSpPr>
          <p:cNvPr id="107" name="Text Placeholder 1">
            <a:extLst>
              <a:ext uri="{FF2B5EF4-FFF2-40B4-BE49-F238E27FC236}">
                <a16:creationId xmlns:a16="http://schemas.microsoft.com/office/drawing/2014/main" id="{3AD01FD5-0A46-4204-B3B0-0C61F5EA8FE4}"/>
              </a:ext>
            </a:extLst>
          </p:cNvPr>
          <p:cNvSpPr txBox="1">
            <a:spLocks/>
          </p:cNvSpPr>
          <p:nvPr/>
        </p:nvSpPr>
        <p:spPr>
          <a:xfrm>
            <a:off x="847725" y="1549400"/>
            <a:ext cx="10248167" cy="4878388"/>
          </a:xfrm>
          <a:prstGeom prst="rect">
            <a:avLst/>
          </a:prstGeom>
        </p:spPr>
        <p:txBody>
          <a:bodyPr vert="horz" lIns="0" tIns="0" rIns="0" bIns="0" rtlCol="0">
            <a:noAutofit/>
          </a:bodyPr>
          <a:lstStyle>
            <a:lvl1pPr marL="0" marR="0" indent="0" algn="l" defTabSz="685800" rtl="0" eaLnBrk="1" fontAlgn="auto" latinLnBrk="0" hangingPunct="1">
              <a:lnSpc>
                <a:spcPct val="100000"/>
              </a:lnSpc>
              <a:spcBef>
                <a:spcPts val="0"/>
              </a:spcBef>
              <a:spcAft>
                <a:spcPts val="900"/>
              </a:spcAft>
              <a:buClr>
                <a:schemeClr val="tx1"/>
              </a:buClr>
              <a:buSzTx/>
              <a:buFont typeface="Arial" panose="020B0604020202020204" pitchFamily="34" charset="0"/>
              <a:buNone/>
              <a:tabLst/>
              <a:defRPr sz="1600" kern="1200">
                <a:solidFill>
                  <a:schemeClr val="tx1"/>
                </a:solidFill>
                <a:latin typeface="+mn-lt"/>
                <a:ea typeface="+mn-ea"/>
                <a:cs typeface="+mn-cs"/>
              </a:defRPr>
            </a:lvl1pPr>
            <a:lvl2pPr marL="204788" indent="-204788" algn="l" defTabSz="685800" rtl="0" eaLnBrk="1" latinLnBrk="0" hangingPunct="1">
              <a:lnSpc>
                <a:spcPct val="100000"/>
              </a:lnSpc>
              <a:spcBef>
                <a:spcPts val="0"/>
              </a:spcBef>
              <a:spcAft>
                <a:spcPts val="675"/>
              </a:spcAft>
              <a:buClr>
                <a:schemeClr val="accent2"/>
              </a:buClr>
              <a:buFont typeface="e-Ukraine UltraLight" pitchFamily="18" charset="0"/>
              <a:buChar char="•"/>
              <a:defRPr sz="1600" kern="1200">
                <a:solidFill>
                  <a:schemeClr val="tx1"/>
                </a:solidFill>
                <a:latin typeface="+mn-lt"/>
                <a:ea typeface="+mn-ea"/>
                <a:cs typeface="+mn-cs"/>
              </a:defRPr>
            </a:lvl2pPr>
            <a:lvl3pPr marL="204788" indent="-204788" algn="l" defTabSz="685800" rtl="0" eaLnBrk="1" latinLnBrk="0" hangingPunct="1">
              <a:lnSpc>
                <a:spcPct val="100000"/>
              </a:lnSpc>
              <a:spcBef>
                <a:spcPts val="0"/>
              </a:spcBef>
              <a:spcAft>
                <a:spcPts val="675"/>
              </a:spcAft>
              <a:buClr>
                <a:schemeClr val="accent2"/>
              </a:buClr>
              <a:buFont typeface="Arial" panose="020B0604020202020204" pitchFamily="34" charset="0"/>
              <a:buChar char="•"/>
              <a:defRPr sz="1600" kern="1200">
                <a:solidFill>
                  <a:schemeClr val="tx1"/>
                </a:solidFill>
                <a:latin typeface="+mn-lt"/>
                <a:ea typeface="+mn-ea"/>
                <a:cs typeface="+mn-cs"/>
              </a:defRPr>
            </a:lvl3pPr>
            <a:lvl4pPr marL="204788" indent="-204788" algn="l" defTabSz="685800" rtl="0" eaLnBrk="1" latinLnBrk="0" hangingPunct="1">
              <a:lnSpc>
                <a:spcPct val="100000"/>
              </a:lnSpc>
              <a:spcBef>
                <a:spcPts val="0"/>
              </a:spcBef>
              <a:spcAft>
                <a:spcPts val="675"/>
              </a:spcAft>
              <a:buClr>
                <a:schemeClr val="accent2"/>
              </a:buClr>
              <a:buFont typeface="e-Ukraine UltraLight" pitchFamily="18" charset="0"/>
              <a:buChar char="◦"/>
              <a:defRPr sz="1600" kern="1200">
                <a:solidFill>
                  <a:schemeClr val="tx1"/>
                </a:solidFill>
                <a:latin typeface="+mn-lt"/>
                <a:ea typeface="+mn-ea"/>
                <a:cs typeface="+mn-cs"/>
              </a:defRPr>
            </a:lvl4pPr>
            <a:lvl5pPr marL="204788" indent="-204788" algn="l" defTabSz="685800" rtl="0" eaLnBrk="1" latinLnBrk="0" hangingPunct="1">
              <a:lnSpc>
                <a:spcPct val="100000"/>
              </a:lnSpc>
              <a:spcBef>
                <a:spcPts val="0"/>
              </a:spcBef>
              <a:spcAft>
                <a:spcPts val="675"/>
              </a:spcAft>
              <a:buClr>
                <a:schemeClr val="tx1"/>
              </a:buClr>
              <a:buFont typeface="e-Ukraine UltraLight" pitchFamily="18" charset="0"/>
              <a:buChar char="›"/>
              <a:defRPr sz="1600" kern="1200" baseline="0">
                <a:solidFill>
                  <a:schemeClr val="tx1"/>
                </a:solidFill>
                <a:latin typeface="+mn-lt"/>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pPr algn="just">
              <a:lnSpc>
                <a:spcPts val="2400"/>
              </a:lnSpc>
            </a:pPr>
            <a:r>
              <a:rPr lang="uk-UA" sz="1800" dirty="0" smtClean="0">
                <a:latin typeface="e-Ukraine UltraLight" panose="00000300000000000000" pitchFamily="50" charset="0"/>
              </a:rPr>
              <a:t>	Успішність </a:t>
            </a:r>
            <a:r>
              <a:rPr lang="uk-UA" sz="1800" dirty="0">
                <a:latin typeface="e-Ukraine UltraLight" panose="00000300000000000000" pitchFamily="50" charset="0"/>
              </a:rPr>
              <a:t>процесу реформування підтверджується проведеною у 2023 році оцінкою системи бухгалтерського обліку в державному секторі України за методологією Світового Банку (PULSE), за результатами якої отримано високу оцінку «В+», що засвідчує високий рівень розвитку системи бухгалтерського обліку та відповідності національних стандартів міжнародним стандартам (IPSAS). </a:t>
            </a:r>
            <a:endParaRPr lang="uk-UA" sz="1800" dirty="0" smtClean="0">
              <a:latin typeface="e-Ukraine UltraLight" panose="00000300000000000000" pitchFamily="50" charset="0"/>
            </a:endParaRPr>
          </a:p>
          <a:p>
            <a:pPr algn="just">
              <a:lnSpc>
                <a:spcPts val="2400"/>
              </a:lnSpc>
            </a:pPr>
            <a:r>
              <a:rPr lang="uk-UA" sz="1800" dirty="0">
                <a:latin typeface="e-Ukraine UltraLight" panose="00000300000000000000" pitchFamily="50" charset="0"/>
              </a:rPr>
              <a:t>	</a:t>
            </a:r>
            <a:endParaRPr lang="uk-UA" sz="1800" dirty="0" smtClean="0">
              <a:latin typeface="e-Ukraine UltraLight" panose="00000300000000000000" pitchFamily="50" charset="0"/>
            </a:endParaRPr>
          </a:p>
          <a:p>
            <a:pPr algn="just">
              <a:lnSpc>
                <a:spcPts val="2400"/>
              </a:lnSpc>
            </a:pPr>
            <a:r>
              <a:rPr lang="uk-UA" sz="1800" dirty="0" smtClean="0">
                <a:latin typeface="e-Ukraine UltraLight" panose="00000300000000000000" pitchFamily="50" charset="0"/>
              </a:rPr>
              <a:t>	За </a:t>
            </a:r>
            <a:r>
              <a:rPr lang="uk-UA" sz="1800" dirty="0">
                <a:latin typeface="e-Ukraine UltraLight" panose="00000300000000000000" pitchFamily="50" charset="0"/>
              </a:rPr>
              <a:t>результатами цієї оцінки підготовлено Звіт, в якому представлені ключові висновки за результатами проведеної оцінки та подальші кроки реформування. Цей Звіт розміщено на офіційних вебсайтах Мінфіну та Світового банку.</a:t>
            </a:r>
          </a:p>
          <a:p>
            <a:endParaRPr lang="uk-UA" dirty="0"/>
          </a:p>
          <a:p>
            <a:pPr algn="ctr"/>
            <a:endParaRPr lang="uk-UA" dirty="0"/>
          </a:p>
        </p:txBody>
      </p:sp>
    </p:spTree>
    <p:extLst>
      <p:ext uri="{BB962C8B-B14F-4D97-AF65-F5344CB8AC3E}">
        <p14:creationId xmlns:p14="http://schemas.microsoft.com/office/powerpoint/2010/main" val="30513556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8327" name="think-cell Slide" r:id="rId4" imgW="270" imgH="270" progId="TCLayout.ActiveDocument.1">
                  <p:embed/>
                </p:oleObj>
              </mc:Choice>
              <mc:Fallback>
                <p:oleObj name="think-cell Slide" r:id="rId4" imgW="270" imgH="270" progId="TCLayout.ActiveDocument.1">
                  <p:embed/>
                  <p:pic>
                    <p:nvPicPr>
                      <p:cNvPr id="31" name="Object 3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A85454-4D77-49C2-8D16-D635B5C30A13}"/>
              </a:ext>
            </a:extLst>
          </p:cNvPr>
          <p:cNvSpPr>
            <a:spLocks noGrp="1"/>
          </p:cNvSpPr>
          <p:nvPr>
            <p:ph type="title"/>
          </p:nvPr>
        </p:nvSpPr>
        <p:spPr/>
        <p:txBody>
          <a:bodyPr/>
          <a:lstStyle/>
          <a:p>
            <a:r>
              <a:rPr lang="uk-UA" sz="3200" dirty="0" smtClean="0"/>
              <a:t>Бухгалтерські послуги</a:t>
            </a:r>
            <a:endParaRPr lang="en-US" dirty="0"/>
          </a:p>
        </p:txBody>
      </p:sp>
      <p:sp>
        <p:nvSpPr>
          <p:cNvPr id="60" name="Slide Number Placeholder 8">
            <a:extLst>
              <a:ext uri="{FF2B5EF4-FFF2-40B4-BE49-F238E27FC236}">
                <a16:creationId xmlns:a16="http://schemas.microsoft.com/office/drawing/2014/main" id="{43F4AA7C-B41F-49C4-831D-EBCC6E3091E7}"/>
              </a:ext>
            </a:extLst>
          </p:cNvPr>
          <p:cNvSpPr>
            <a:spLocks noGrp="1"/>
          </p:cNvSpPr>
          <p:nvPr>
            <p:ph type="sldNum" sz="quarter" idx="4"/>
          </p:nvPr>
        </p:nvSpPr>
        <p:spPr>
          <a:xfrm>
            <a:off x="11635740" y="6533612"/>
            <a:ext cx="424734" cy="187228"/>
          </a:xfrm>
        </p:spPr>
        <p:txBody>
          <a:bodyPr lIns="0" tIns="0" rIns="0" bIns="0"/>
          <a:lstStyle>
            <a:lvl1pPr algn="r">
              <a:defRPr sz="1000">
                <a:latin typeface="e-Ukraine UltraLight" panose="00000500000000000000" pitchFamily="2" charset="0"/>
              </a:defRPr>
            </a:lvl1pPr>
          </a:lstStyle>
          <a:p>
            <a:fld id="{6BEF9EAC-A834-4079-97F3-DDD7E59C4475}" type="slidenum">
              <a:rPr lang="uk-UA" sz="900" smtClean="0">
                <a:latin typeface="+mn-lt"/>
              </a:rPr>
              <a:pPr/>
              <a:t>9</a:t>
            </a:fld>
            <a:endParaRPr lang="uk-UA" sz="900" dirty="0">
              <a:latin typeface="+mn-lt"/>
            </a:endParaRPr>
          </a:p>
        </p:txBody>
      </p:sp>
      <p:sp>
        <p:nvSpPr>
          <p:cNvPr id="19" name="Graphic 20">
            <a:extLst>
              <a:ext uri="{FF2B5EF4-FFF2-40B4-BE49-F238E27FC236}">
                <a16:creationId xmlns:a16="http://schemas.microsoft.com/office/drawing/2014/main" id="{A6722032-24A5-4FC5-ADAD-CC4BD07803E4}"/>
              </a:ext>
            </a:extLst>
          </p:cNvPr>
          <p:cNvSpPr/>
          <p:nvPr/>
        </p:nvSpPr>
        <p:spPr>
          <a:xfrm>
            <a:off x="296324" y="3001818"/>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20" name="Text Placeholder 112">
            <a:extLst>
              <a:ext uri="{FF2B5EF4-FFF2-40B4-BE49-F238E27FC236}">
                <a16:creationId xmlns:a16="http://schemas.microsoft.com/office/drawing/2014/main" id="{6404955E-000D-4EF2-BE78-D962527F0CB8}"/>
              </a:ext>
            </a:extLst>
          </p:cNvPr>
          <p:cNvSpPr txBox="1">
            <a:spLocks/>
          </p:cNvSpPr>
          <p:nvPr/>
        </p:nvSpPr>
        <p:spPr>
          <a:xfrm>
            <a:off x="1768877" y="2806597"/>
            <a:ext cx="4025254" cy="1077217"/>
          </a:xfrm>
          <a:prstGeom prst="rect">
            <a:avLst/>
          </a:prstGeom>
        </p:spPr>
        <p:txBody>
          <a:bodyPr/>
          <a:lstStyle>
            <a:lvl1pPr marL="0" marR="0" indent="-205740" algn="l" defTabSz="685800" rtl="0" eaLnBrk="1" fontAlgn="auto" latinLnBrk="0" hangingPunct="1">
              <a:lnSpc>
                <a:spcPct val="100000"/>
              </a:lnSpc>
              <a:spcBef>
                <a:spcPts val="0"/>
              </a:spcBef>
              <a:spcAft>
                <a:spcPts val="675"/>
              </a:spcAft>
              <a:buClr>
                <a:schemeClr val="tx1"/>
              </a:buClr>
              <a:buSzTx/>
              <a:buFontTx/>
              <a:buNone/>
              <a:tabLst/>
              <a:defRPr sz="14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baseline="0">
                <a:solidFill>
                  <a:schemeClr val="tx1"/>
                </a:solidFill>
                <a:latin typeface="e-Ukraine UltraLight" panose="00000300000000000000" pitchFamily="50"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r>
              <a:rPr lang="uk-UA" sz="2400" dirty="0"/>
              <a:t>спеціалізовані бухгалтерські </a:t>
            </a:r>
            <a:r>
              <a:rPr lang="uk-UA" sz="2400" dirty="0" smtClean="0"/>
              <a:t>компанії</a:t>
            </a:r>
            <a:endParaRPr lang="uk-UA" sz="2400" dirty="0"/>
          </a:p>
        </p:txBody>
      </p:sp>
      <p:sp>
        <p:nvSpPr>
          <p:cNvPr id="21" name="Text Placeholder 114">
            <a:extLst>
              <a:ext uri="{FF2B5EF4-FFF2-40B4-BE49-F238E27FC236}">
                <a16:creationId xmlns:a16="http://schemas.microsoft.com/office/drawing/2014/main" id="{73407256-34B0-4EB5-A39B-6549459D0CAD}"/>
              </a:ext>
            </a:extLst>
          </p:cNvPr>
          <p:cNvSpPr txBox="1">
            <a:spLocks/>
          </p:cNvSpPr>
          <p:nvPr/>
        </p:nvSpPr>
        <p:spPr>
          <a:xfrm>
            <a:off x="1828967" y="4875705"/>
            <a:ext cx="3322956" cy="1493202"/>
          </a:xfrm>
          <a:prstGeom prst="rect">
            <a:avLst/>
          </a:prstGeom>
        </p:spPr>
        <p:txBody>
          <a:bodyPr/>
          <a:lstStyle>
            <a:lvl1pPr marL="0" marR="0" indent="-205740" algn="l" defTabSz="685800" rtl="0" eaLnBrk="1" fontAlgn="auto" latinLnBrk="0" hangingPunct="1">
              <a:lnSpc>
                <a:spcPct val="100000"/>
              </a:lnSpc>
              <a:spcBef>
                <a:spcPts val="0"/>
              </a:spcBef>
              <a:spcAft>
                <a:spcPts val="675"/>
              </a:spcAft>
              <a:buClr>
                <a:schemeClr val="tx1"/>
              </a:buClr>
              <a:buSzTx/>
              <a:buFontTx/>
              <a:buNone/>
              <a:tabLst/>
              <a:defRPr sz="14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baseline="0">
                <a:solidFill>
                  <a:schemeClr val="tx1"/>
                </a:solidFill>
                <a:latin typeface="e-Ukraine UltraLight" panose="00000300000000000000" pitchFamily="50"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r>
              <a:rPr lang="uk-UA" sz="2400" dirty="0"/>
              <a:t>підрозділи юридичних компаній </a:t>
            </a:r>
          </a:p>
        </p:txBody>
      </p:sp>
      <p:sp>
        <p:nvSpPr>
          <p:cNvPr id="22" name="Text Placeholder 118">
            <a:extLst>
              <a:ext uri="{FF2B5EF4-FFF2-40B4-BE49-F238E27FC236}">
                <a16:creationId xmlns:a16="http://schemas.microsoft.com/office/drawing/2014/main" id="{C2661E0E-357D-42A0-B6D9-26EABE3D2457}"/>
              </a:ext>
            </a:extLst>
          </p:cNvPr>
          <p:cNvSpPr txBox="1">
            <a:spLocks/>
          </p:cNvSpPr>
          <p:nvPr/>
        </p:nvSpPr>
        <p:spPr>
          <a:xfrm>
            <a:off x="7605715" y="2773672"/>
            <a:ext cx="3322956" cy="1493202"/>
          </a:xfrm>
          <a:prstGeom prst="rect">
            <a:avLst/>
          </a:prstGeom>
        </p:spPr>
        <p:txBody>
          <a:bodyPr/>
          <a:lstStyle>
            <a:lvl1pPr marL="0" marR="0" indent="-205740" algn="l" defTabSz="685800" rtl="0" eaLnBrk="1" fontAlgn="auto" latinLnBrk="0" hangingPunct="1">
              <a:lnSpc>
                <a:spcPct val="100000"/>
              </a:lnSpc>
              <a:spcBef>
                <a:spcPts val="0"/>
              </a:spcBef>
              <a:spcAft>
                <a:spcPts val="675"/>
              </a:spcAft>
              <a:buClr>
                <a:schemeClr val="tx1"/>
              </a:buClr>
              <a:buSzTx/>
              <a:buFontTx/>
              <a:buNone/>
              <a:tabLst/>
              <a:defRPr sz="14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baseline="0">
                <a:solidFill>
                  <a:schemeClr val="tx1"/>
                </a:solidFill>
                <a:latin typeface="e-Ukraine UltraLight" panose="00000300000000000000" pitchFamily="50"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r>
              <a:rPr lang="uk-UA" sz="2400" dirty="0"/>
              <a:t>підрозділи аудиторських компаній </a:t>
            </a:r>
          </a:p>
        </p:txBody>
      </p:sp>
      <p:sp>
        <p:nvSpPr>
          <p:cNvPr id="23" name="Text Placeholder 116">
            <a:extLst>
              <a:ext uri="{FF2B5EF4-FFF2-40B4-BE49-F238E27FC236}">
                <a16:creationId xmlns:a16="http://schemas.microsoft.com/office/drawing/2014/main" id="{16018086-4666-4066-B3A2-3CA864AB15A5}"/>
              </a:ext>
            </a:extLst>
          </p:cNvPr>
          <p:cNvSpPr txBox="1">
            <a:spLocks/>
          </p:cNvSpPr>
          <p:nvPr/>
        </p:nvSpPr>
        <p:spPr>
          <a:xfrm>
            <a:off x="7605715" y="4884517"/>
            <a:ext cx="3322956" cy="1252577"/>
          </a:xfrm>
          <a:prstGeom prst="rect">
            <a:avLst/>
          </a:prstGeom>
        </p:spPr>
        <p:txBody>
          <a:bodyPr/>
          <a:lstStyle>
            <a:lvl1pPr marL="0" marR="0" indent="-205740" algn="l" defTabSz="685800" rtl="0" eaLnBrk="1" fontAlgn="auto" latinLnBrk="0" hangingPunct="1">
              <a:lnSpc>
                <a:spcPct val="100000"/>
              </a:lnSpc>
              <a:spcBef>
                <a:spcPts val="0"/>
              </a:spcBef>
              <a:spcAft>
                <a:spcPts val="675"/>
              </a:spcAft>
              <a:buClr>
                <a:schemeClr val="tx1"/>
              </a:buClr>
              <a:buSzTx/>
              <a:buFontTx/>
              <a:buNone/>
              <a:tabLst/>
              <a:defRPr sz="1400" kern="1200">
                <a:solidFill>
                  <a:schemeClr val="tx1"/>
                </a:solidFill>
                <a:latin typeface="e-Ukraine UltraLight" panose="00000300000000000000" pitchFamily="50" charset="0"/>
                <a:ea typeface="+mn-ea"/>
                <a:cs typeface="+mn-cs"/>
              </a:defRPr>
            </a:lvl1pPr>
            <a:lvl2pPr marL="20574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2pPr>
            <a:lvl3pPr marL="41148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3pPr>
            <a:lvl4pPr marL="61722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a:solidFill>
                  <a:schemeClr val="tx1"/>
                </a:solidFill>
                <a:latin typeface="e-Ukraine UltraLight" panose="00000300000000000000" pitchFamily="50" charset="0"/>
                <a:ea typeface="+mn-ea"/>
                <a:cs typeface="+mn-cs"/>
              </a:defRPr>
            </a:lvl4pPr>
            <a:lvl5pPr marL="822960" indent="-205740" algn="l" defTabSz="685800" rtl="0" eaLnBrk="1" latinLnBrk="0" hangingPunct="1">
              <a:lnSpc>
                <a:spcPct val="100000"/>
              </a:lnSpc>
              <a:spcBef>
                <a:spcPts val="0"/>
              </a:spcBef>
              <a:spcAft>
                <a:spcPts val="675"/>
              </a:spcAft>
              <a:buClr>
                <a:schemeClr val="tx1"/>
              </a:buClr>
              <a:buFont typeface="e-Ukraine UltraLight" pitchFamily="18" charset="0"/>
              <a:buChar char="›"/>
              <a:defRPr sz="1400" kern="1200" baseline="0">
                <a:solidFill>
                  <a:schemeClr val="tx1"/>
                </a:solidFill>
                <a:latin typeface="e-Ukraine UltraLight" panose="00000300000000000000" pitchFamily="50" charset="0"/>
                <a:ea typeface="+mn-ea"/>
                <a:cs typeface="+mn-cs"/>
              </a:defRPr>
            </a:lvl5pPr>
            <a:lvl6pPr marL="205740" marR="0" indent="-205740" algn="l" defTabSz="685800" rtl="0" eaLnBrk="1" fontAlgn="auto" latinLnBrk="0" hangingPunct="1">
              <a:lnSpc>
                <a:spcPct val="100000"/>
              </a:lnSpc>
              <a:spcBef>
                <a:spcPts val="0"/>
              </a:spcBef>
              <a:spcAft>
                <a:spcPts val="675"/>
              </a:spcAft>
              <a:buClr>
                <a:schemeClr val="tx1"/>
              </a:buClr>
              <a:buSzPct val="100000"/>
              <a:buFont typeface="+mj-lt"/>
              <a:buAutoNum type="arabicPeriod"/>
              <a:tabLst/>
              <a:defRPr sz="1500" kern="1200" baseline="0">
                <a:solidFill>
                  <a:schemeClr val="tx1"/>
                </a:solidFill>
                <a:latin typeface="e-Ukraine UltraLight" pitchFamily="18" charset="0"/>
                <a:ea typeface="+mn-ea"/>
                <a:cs typeface="+mn-cs"/>
              </a:defRPr>
            </a:lvl6pPr>
            <a:lvl7pPr marL="411480" indent="-205740" algn="l" defTabSz="685800" rtl="0" eaLnBrk="1" latinLnBrk="0" hangingPunct="1">
              <a:lnSpc>
                <a:spcPct val="100000"/>
              </a:lnSpc>
              <a:spcBef>
                <a:spcPts val="0"/>
              </a:spcBef>
              <a:spcAft>
                <a:spcPts val="675"/>
              </a:spcAft>
              <a:buSzPct val="100000"/>
              <a:buFont typeface="+mj-lt"/>
              <a:buAutoNum type="alphaLcPeriod"/>
              <a:defRPr sz="1500" kern="1200" baseline="0">
                <a:solidFill>
                  <a:schemeClr val="tx1"/>
                </a:solidFill>
                <a:latin typeface="e-Ukraine UltraLight" pitchFamily="18" charset="0"/>
                <a:ea typeface="+mn-ea"/>
                <a:cs typeface="+mn-cs"/>
              </a:defRPr>
            </a:lvl7pPr>
            <a:lvl8pPr marL="617220" indent="-205740" algn="l" defTabSz="685800" rtl="0" eaLnBrk="1" latinLnBrk="0" hangingPunct="1">
              <a:lnSpc>
                <a:spcPct val="100000"/>
              </a:lnSpc>
              <a:spcBef>
                <a:spcPts val="0"/>
              </a:spcBef>
              <a:spcAft>
                <a:spcPts val="675"/>
              </a:spcAft>
              <a:buSzPct val="100000"/>
              <a:buFont typeface="+mj-lt"/>
              <a:buAutoNum type="romanLcPeriod"/>
              <a:defRPr sz="1500" kern="1200" baseline="0">
                <a:solidFill>
                  <a:schemeClr val="tx1"/>
                </a:solidFill>
                <a:latin typeface="e-Ukraine UltraLight" pitchFamily="18" charset="0"/>
                <a:ea typeface="+mn-ea"/>
                <a:cs typeface="+mn-cs"/>
              </a:defRPr>
            </a:lvl8pPr>
            <a:lvl9pPr marL="0" indent="-205740" algn="l" defTabSz="685800" rtl="0" eaLnBrk="1" latinLnBrk="0" hangingPunct="1">
              <a:lnSpc>
                <a:spcPct val="100000"/>
              </a:lnSpc>
              <a:spcBef>
                <a:spcPts val="0"/>
              </a:spcBef>
              <a:spcAft>
                <a:spcPts val="675"/>
              </a:spcAft>
              <a:buFont typeface="Arial" pitchFamily="34" charset="0"/>
              <a:buNone/>
              <a:defRPr sz="1500" b="1" kern="1200" baseline="0">
                <a:solidFill>
                  <a:schemeClr val="tx2"/>
                </a:solidFill>
                <a:latin typeface="e-Ukraine UltraLight" pitchFamily="18" charset="0"/>
                <a:ea typeface="+mn-ea"/>
                <a:cs typeface="+mn-cs"/>
              </a:defRPr>
            </a:lvl9pPr>
          </a:lstStyle>
          <a:p>
            <a:r>
              <a:rPr lang="uk-UA" sz="2400" dirty="0"/>
              <a:t>фрілансери, приватні фахівці </a:t>
            </a:r>
          </a:p>
        </p:txBody>
      </p:sp>
      <p:sp>
        <p:nvSpPr>
          <p:cNvPr id="24" name="Graphic 20">
            <a:extLst>
              <a:ext uri="{FF2B5EF4-FFF2-40B4-BE49-F238E27FC236}">
                <a16:creationId xmlns:a16="http://schemas.microsoft.com/office/drawing/2014/main" id="{151FBCBB-58A2-4DE4-B34F-10B5F795818E}"/>
              </a:ext>
            </a:extLst>
          </p:cNvPr>
          <p:cNvSpPr/>
          <p:nvPr/>
        </p:nvSpPr>
        <p:spPr>
          <a:xfrm>
            <a:off x="296323" y="507307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25" name="Graphic 20">
            <a:extLst>
              <a:ext uri="{FF2B5EF4-FFF2-40B4-BE49-F238E27FC236}">
                <a16:creationId xmlns:a16="http://schemas.microsoft.com/office/drawing/2014/main" id="{ED0C0798-597F-4E55-A327-EF10F88D99BD}"/>
              </a:ext>
            </a:extLst>
          </p:cNvPr>
          <p:cNvSpPr/>
          <p:nvPr/>
        </p:nvSpPr>
        <p:spPr>
          <a:xfrm>
            <a:off x="6096000" y="2971041"/>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26" name="Graphic 20">
            <a:extLst>
              <a:ext uri="{FF2B5EF4-FFF2-40B4-BE49-F238E27FC236}">
                <a16:creationId xmlns:a16="http://schemas.microsoft.com/office/drawing/2014/main" id="{12427822-5DEF-473C-97E6-FC50BDCBC518}"/>
              </a:ext>
            </a:extLst>
          </p:cNvPr>
          <p:cNvSpPr/>
          <p:nvPr/>
        </p:nvSpPr>
        <p:spPr>
          <a:xfrm>
            <a:off x="6095999" y="5073074"/>
            <a:ext cx="1318157" cy="549232"/>
          </a:xfrm>
          <a:custGeom>
            <a:avLst/>
            <a:gdLst>
              <a:gd name="connsiteX0" fmla="*/ 1141667 w 1143000"/>
              <a:gd name="connsiteY0" fmla="*/ 7144 h 476250"/>
              <a:gd name="connsiteX1" fmla="*/ 676751 w 1143000"/>
              <a:gd name="connsiteY1" fmla="*/ 472059 h 476250"/>
              <a:gd name="connsiteX2" fmla="*/ 7144 w 1143000"/>
              <a:gd name="connsiteY2" fmla="*/ 472059 h 476250"/>
              <a:gd name="connsiteX3" fmla="*/ 472059 w 1143000"/>
              <a:gd name="connsiteY3" fmla="*/ 7144 h 476250"/>
              <a:gd name="connsiteX4" fmla="*/ 1141667 w 1143000"/>
              <a:gd name="connsiteY4" fmla="*/ 7144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476250">
                <a:moveTo>
                  <a:pt x="1141667" y="7144"/>
                </a:moveTo>
                <a:lnTo>
                  <a:pt x="676751" y="472059"/>
                </a:lnTo>
                <a:lnTo>
                  <a:pt x="7144" y="472059"/>
                </a:lnTo>
                <a:lnTo>
                  <a:pt x="472059" y="7144"/>
                </a:lnTo>
                <a:lnTo>
                  <a:pt x="1141667" y="7144"/>
                </a:lnTo>
                <a:close/>
              </a:path>
            </a:pathLst>
          </a:custGeom>
          <a:solidFill>
            <a:srgbClr val="FABE28"/>
          </a:solidFill>
          <a:ln w="9525" cap="flat">
            <a:noFill/>
            <a:prstDash val="solid"/>
            <a:miter/>
          </a:ln>
        </p:spPr>
        <p:txBody>
          <a:bodyPr rtlCol="0" anchor="ctr"/>
          <a:lstStyle/>
          <a:p>
            <a:endParaRPr lang="uk-UA"/>
          </a:p>
        </p:txBody>
      </p:sp>
      <p:sp>
        <p:nvSpPr>
          <p:cNvPr id="2" name="Прямокутник 1"/>
          <p:cNvSpPr/>
          <p:nvPr/>
        </p:nvSpPr>
        <p:spPr>
          <a:xfrm>
            <a:off x="580820" y="1509698"/>
            <a:ext cx="11262946" cy="707886"/>
          </a:xfrm>
          <a:prstGeom prst="rect">
            <a:avLst/>
          </a:prstGeom>
        </p:spPr>
        <p:txBody>
          <a:bodyPr wrap="square">
            <a:spAutoFit/>
          </a:bodyPr>
          <a:lstStyle/>
          <a:p>
            <a:pPr algn="ctr"/>
            <a:r>
              <a:rPr lang="uk-UA" sz="2000" dirty="0">
                <a:solidFill>
                  <a:srgbClr val="0091D7"/>
                </a:solidFill>
                <a:latin typeface="+mj-lt"/>
                <a:ea typeface="Calibri" panose="020F0502020204030204" pitchFamily="34" charset="0"/>
              </a:rPr>
              <a:t>На сьогодні в Україні бухгалтерські послуги та послуги аутсорсингу функцій бухгалтерського обліку надають такі компанії</a:t>
            </a:r>
            <a:endParaRPr lang="uk-UA" sz="2000" dirty="0">
              <a:solidFill>
                <a:srgbClr val="0091D7"/>
              </a:solidFill>
              <a:latin typeface="+mj-lt"/>
            </a:endParaRPr>
          </a:p>
        </p:txBody>
      </p:sp>
    </p:spTree>
    <p:extLst>
      <p:ext uri="{BB962C8B-B14F-4D97-AF65-F5344CB8AC3E}">
        <p14:creationId xmlns:p14="http://schemas.microsoft.com/office/powerpoint/2010/main" val="3922109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7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4.68559000000000036579E+00&quot;&gt;&lt;m_msothmcolidx val=&quot;0&quot;/&gt;&lt;m_rgb r=&quot;FF&quot; g=&quot;DB&quot; b=&quot;00&quot;/&gt;&lt;m_nBrightness val=&quot;0&quot;/&gt;&lt;/elem&gt;&lt;elem m_fUsage=&quot;5.31441000000000163261E-01&quot;&gt;&lt;m_msothmcolidx val=&quot;0&quot;/&gt;&lt;m_rgb r=&quot;EB&quot; g=&quot;6A&quot; b=&quot;0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F">
  <a:themeElements>
    <a:clrScheme name="Custom 1">
      <a:dk1>
        <a:srgbClr val="000000"/>
      </a:dk1>
      <a:lt1>
        <a:sysClr val="window" lastClr="FFFFFF"/>
      </a:lt1>
      <a:dk2>
        <a:srgbClr val="000000"/>
      </a:dk2>
      <a:lt2>
        <a:srgbClr val="FFFFFF"/>
      </a:lt2>
      <a:accent1>
        <a:srgbClr val="FACD28"/>
      </a:accent1>
      <a:accent2>
        <a:srgbClr val="009BDC"/>
      </a:accent2>
      <a:accent3>
        <a:srgbClr val="0057B8"/>
      </a:accent3>
      <a:accent4>
        <a:srgbClr val="7C51A1"/>
      </a:accent4>
      <a:accent5>
        <a:srgbClr val="E55058"/>
      </a:accent5>
      <a:accent6>
        <a:srgbClr val="99CC33"/>
      </a:accent6>
      <a:hlink>
        <a:srgbClr val="0000FF"/>
      </a:hlink>
      <a:folHlink>
        <a:srgbClr val="800080"/>
      </a:folHlink>
    </a:clrScheme>
    <a:fontScheme name="MoF Template">
      <a:majorFont>
        <a:latin typeface="e-Ukraine Bold"/>
        <a:ea typeface="e-Ukraine UltraLight"/>
        <a:cs typeface="e-Ukraine UltraLight"/>
      </a:majorFont>
      <a:minorFont>
        <a:latin typeface="e-Ukraine UltraLight"/>
        <a:ea typeface="e-Ukraine UltraLight"/>
        <a:cs typeface="e-Ukraine Ultra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e-Ukraine UltraLight"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e-Ukraine UltraLight" pitchFamily="18" charset="0"/>
          </a:defRPr>
        </a:defPPr>
      </a:lstStyle>
    </a:txDef>
  </a:objectDefaults>
  <a:extraClrSchemeLst/>
  <a:extLst>
    <a:ext uri="{05A4C25C-085E-4340-85A3-A5531E510DB2}">
      <thm15:themeFamily xmlns:thm15="http://schemas.microsoft.com/office/thememl/2012/main" name="Presentation1" id="{B94186EA-B0B2-4E41-A351-6242F0C72D9D}" vid="{E142F899-578D-4885-93C2-118BB84F88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e-Ukraine UltraLight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e-Ukraine UltraLight"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e-Ukraine UltraLight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e-Ukraine UltraLight"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xpirationDate xmlns="3abd4696-348f-47b7-a73f-e9b95e5ce52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F9D26A2207C4B4DB459028C07F7C4CA" ma:contentTypeVersion="1" ma:contentTypeDescription="Create a new document." ma:contentTypeScope="" ma:versionID="be9c0ae7d59b7169dd5ad6b1514978aa">
  <xsd:schema xmlns:xsd="http://www.w3.org/2001/XMLSchema" xmlns:xs="http://www.w3.org/2001/XMLSchema" xmlns:p="http://schemas.microsoft.com/office/2006/metadata/properties" xmlns:ns3="3abd4696-348f-47b7-a73f-e9b95e5ce527" targetNamespace="http://schemas.microsoft.com/office/2006/metadata/properties" ma:root="true" ma:fieldsID="466df9d699203a098f51b417eb9f3cb0" ns3:_="">
    <xsd:import namespace="3abd4696-348f-47b7-a73f-e9b95e5ce527"/>
    <xsd:element name="properties">
      <xsd:complexType>
        <xsd:sequence>
          <xsd:element name="documentManagement">
            <xsd:complexType>
              <xsd:all>
                <xsd:element ref="ns3: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bd4696-348f-47b7-a73f-e9b95e5ce527" elementFormDefault="qualified">
    <xsd:import namespace="http://schemas.microsoft.com/office/2006/documentManagement/types"/>
    <xsd:import namespace="http://schemas.microsoft.com/office/infopath/2007/PartnerControls"/>
    <xsd:element name="ExpirationDate" ma:index="8" nillable="true" ma:displayName="Expiration Date" ma:format="DateOnly" ma:internalName="Expiration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0E0CDF-16C3-47D9-B464-8DA415FB0783}">
  <ds:schemaRefs>
    <ds:schemaRef ds:uri="http://purl.org/dc/terms/"/>
    <ds:schemaRef ds:uri="http://purl.org/dc/elements/1.1/"/>
    <ds:schemaRef ds:uri="http://schemas.openxmlformats.org/package/2006/metadata/core-properties"/>
    <ds:schemaRef ds:uri="http://schemas.microsoft.com/office/2006/metadata/properties"/>
    <ds:schemaRef ds:uri="http://www.w3.org/XML/1998/namespace"/>
    <ds:schemaRef ds:uri="http://schemas.microsoft.com/office/2006/documentManagement/types"/>
    <ds:schemaRef ds:uri="http://purl.org/dc/dcmitype/"/>
    <ds:schemaRef ds:uri="http://schemas.microsoft.com/office/infopath/2007/PartnerControls"/>
    <ds:schemaRef ds:uri="3abd4696-348f-47b7-a73f-e9b95e5ce527"/>
  </ds:schemaRefs>
</ds:datastoreItem>
</file>

<file path=customXml/itemProps2.xml><?xml version="1.0" encoding="utf-8"?>
<ds:datastoreItem xmlns:ds="http://schemas.openxmlformats.org/officeDocument/2006/customXml" ds:itemID="{910495BA-77EA-4F49-BFD4-3C6D23C34E26}">
  <ds:schemaRefs>
    <ds:schemaRef ds:uri="http://schemas.microsoft.com/sharepoint/v3/contenttype/forms"/>
  </ds:schemaRefs>
</ds:datastoreItem>
</file>

<file path=customXml/itemProps3.xml><?xml version="1.0" encoding="utf-8"?>
<ds:datastoreItem xmlns:ds="http://schemas.openxmlformats.org/officeDocument/2006/customXml" ds:itemID="{28304473-BE81-4AF4-BA00-ADD10F2DEA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bd4696-348f-47b7-a73f-e9b95e5ce5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078</TotalTime>
  <Words>1871</Words>
  <Application>Microsoft Office PowerPoint</Application>
  <PresentationFormat>Широкий екран</PresentationFormat>
  <Paragraphs>180</Paragraphs>
  <Slides>23</Slides>
  <Notes>10</Notes>
  <HiddenSlides>0</HiddenSlides>
  <MMClips>0</MMClips>
  <ScaleCrop>false</ScaleCrop>
  <HeadingPairs>
    <vt:vector size="8" baseType="variant">
      <vt:variant>
        <vt:lpstr>Використані шрифти</vt:lpstr>
      </vt:variant>
      <vt:variant>
        <vt:i4>5</vt:i4>
      </vt:variant>
      <vt:variant>
        <vt:lpstr>Тема</vt:lpstr>
      </vt:variant>
      <vt:variant>
        <vt:i4>1</vt:i4>
      </vt:variant>
      <vt:variant>
        <vt:lpstr>Вбудовані сервери OLE</vt:lpstr>
      </vt:variant>
      <vt:variant>
        <vt:i4>1</vt:i4>
      </vt:variant>
      <vt:variant>
        <vt:lpstr>Заголовки слайдів</vt:lpstr>
      </vt:variant>
      <vt:variant>
        <vt:i4>23</vt:i4>
      </vt:variant>
    </vt:vector>
  </HeadingPairs>
  <TitlesOfParts>
    <vt:vector size="30" baseType="lpstr">
      <vt:lpstr>e-Ukraine Bold</vt:lpstr>
      <vt:lpstr>Calibri</vt:lpstr>
      <vt:lpstr>e-Ukraine UltraLight</vt:lpstr>
      <vt:lpstr>Arial</vt:lpstr>
      <vt:lpstr>Times New Roman</vt:lpstr>
      <vt:lpstr>MoF</vt:lpstr>
      <vt:lpstr>think-cell Slide</vt:lpstr>
      <vt:lpstr>Бухгалтери та аудитори – учасники євроінтеграційних процесів</vt:lpstr>
      <vt:lpstr>Європейська інтеграція</vt:lpstr>
      <vt:lpstr>Європейська інтеграція</vt:lpstr>
      <vt:lpstr>Реформування бухгалтерського обліку</vt:lpstr>
      <vt:lpstr>Реформування бухгалтерського обліку</vt:lpstr>
      <vt:lpstr>Реформування бухгалтерського обліку в державному секторі</vt:lpstr>
      <vt:lpstr>Стратегія передбачає досягнення таких результатів</vt:lpstr>
      <vt:lpstr>Оцінка системи бухгалтерського обліку в державному секторі України за методологією Світового Банку (PULSE)</vt:lpstr>
      <vt:lpstr>Бухгалтерські послуги</vt:lpstr>
      <vt:lpstr>Професійна етика</vt:lpstr>
      <vt:lpstr>Прозорість діяльності підприємства</vt:lpstr>
      <vt:lpstr>Реформування у сфері аудиту</vt:lpstr>
      <vt:lpstr>Реформування у сфері аудиту </vt:lpstr>
      <vt:lpstr>Реформування у сфері аудиту</vt:lpstr>
      <vt:lpstr>Заходи для підтримки бізнесу</vt:lpstr>
      <vt:lpstr>Нормативно-правові акти, що врегульовують питання звітності зі сталого розвитку у ЄС</vt:lpstr>
      <vt:lpstr>18 жовтня 2024 року  Кабінетом Міністрів України  прийнято розпорядження № 1015-р   «Про схвалення Стратегії запровадження підприємствами звітності із сталого розвитку»</vt:lpstr>
      <vt:lpstr>Передумови запровадження підприємствами звітності із сталого розвитку</vt:lpstr>
      <vt:lpstr>Метою Стратегії є:</vt:lpstr>
      <vt:lpstr>Стратегічна ціль 1,  шляхи досягнення</vt:lpstr>
      <vt:lpstr>Стратегічна ціль 2,  шляхи досягнення</vt:lpstr>
      <vt:lpstr>Очікувані результати реалізації Стратегії</vt:lpstr>
      <vt:lpstr> Дякую за увагу</vt:lpstr>
    </vt:vector>
  </TitlesOfParts>
  <Company>R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hdan Bykon</dc:creator>
  <cp:lastModifiedBy>Борисова Марина Олегівна</cp:lastModifiedBy>
  <cp:revision>1889</cp:revision>
  <cp:lastPrinted>2017-03-29T13:32:49Z</cp:lastPrinted>
  <dcterms:created xsi:type="dcterms:W3CDTF">2016-09-01T09:06:15Z</dcterms:created>
  <dcterms:modified xsi:type="dcterms:W3CDTF">2024-11-14T07:1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9D26A2207C4B4DB459028C07F7C4CA</vt:lpwstr>
  </property>
</Properties>
</file>